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00" r:id="rId6"/>
  </p:sldMasterIdLst>
  <p:notesMasterIdLst>
    <p:notesMasterId r:id="rId21"/>
  </p:notesMasterIdLst>
  <p:handoutMasterIdLst>
    <p:handoutMasterId r:id="rId22"/>
  </p:handoutMasterIdLst>
  <p:sldIdLst>
    <p:sldId id="273" r:id="rId7"/>
    <p:sldId id="2142532693" r:id="rId8"/>
    <p:sldId id="2142532687" r:id="rId9"/>
    <p:sldId id="2142532686" r:id="rId10"/>
    <p:sldId id="2142532683" r:id="rId11"/>
    <p:sldId id="2142532690" r:id="rId12"/>
    <p:sldId id="2142532692" r:id="rId13"/>
    <p:sldId id="310" r:id="rId14"/>
    <p:sldId id="265" r:id="rId15"/>
    <p:sldId id="2142532685" r:id="rId16"/>
    <p:sldId id="302" r:id="rId17"/>
    <p:sldId id="2142532695" r:id="rId18"/>
    <p:sldId id="2142532696" r:id="rId19"/>
    <p:sldId id="277" r:id="rId20"/>
  </p:sldIdLst>
  <p:sldSz cx="12192000" cy="6858000"/>
  <p:notesSz cx="6797675" cy="9926638"/>
  <p:custDataLst>
    <p:tags r:id="rId23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i Tamás (MOHU Zrt.)" initials="ST(Z" lastIdx="3" clrIdx="0">
    <p:extLst>
      <p:ext uri="{19B8F6BF-5375-455C-9EA6-DF929625EA0E}">
        <p15:presenceInfo xmlns:p15="http://schemas.microsoft.com/office/powerpoint/2012/main" userId="S::TSandi@molgroup.info::b83d1f8a-709a-447b-acca-4037550cf2a5" providerId="AD"/>
      </p:ext>
    </p:extLst>
  </p:cmAuthor>
  <p:cmAuthor id="2" name="Szendrői Márton László (MOHU Zrt.)" initials="SML(Z" lastIdx="1" clrIdx="1">
    <p:extLst>
      <p:ext uri="{19B8F6BF-5375-455C-9EA6-DF929625EA0E}">
        <p15:presenceInfo xmlns:p15="http://schemas.microsoft.com/office/powerpoint/2012/main" userId="S::MSzendroi@molgroup.info::c00649d0-3099-413c-9f72-3a513fdec2c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DE59"/>
    <a:srgbClr val="404346"/>
    <a:srgbClr val="494341"/>
    <a:srgbClr val="C9A783"/>
    <a:srgbClr val="C3A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B8C0C1-10D5-4B8A-9DC0-A7715850C97D}" v="21" dt="2024-03-01T11:01:56.05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86" d="100"/>
          <a:sy n="86" d="100"/>
        </p:scale>
        <p:origin x="533" y="67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>
            <a:extLst>
              <a:ext uri="{FF2B5EF4-FFF2-40B4-BE49-F238E27FC236}">
                <a16:creationId xmlns:a16="http://schemas.microsoft.com/office/drawing/2014/main" id="{62819C46-4964-490C-BE3A-54EA42218A4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>
            <a:extLst>
              <a:ext uri="{FF2B5EF4-FFF2-40B4-BE49-F238E27FC236}">
                <a16:creationId xmlns:a16="http://schemas.microsoft.com/office/drawing/2014/main" id="{226F6EE9-0F39-40C7-9B44-D03E1DD01A6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84E82D-B3D8-4C63-A426-54F4E540F70D}" type="datetimeFigureOut">
              <a:rPr lang="hu-HU" smtClean="0"/>
              <a:t>2024. 03. 01.</a:t>
            </a:fld>
            <a:endParaRPr lang="hu-HU"/>
          </a:p>
        </p:txBody>
      </p:sp>
      <p:sp>
        <p:nvSpPr>
          <p:cNvPr id="4" name="Élőláb helye 3">
            <a:extLst>
              <a:ext uri="{FF2B5EF4-FFF2-40B4-BE49-F238E27FC236}">
                <a16:creationId xmlns:a16="http://schemas.microsoft.com/office/drawing/2014/main" id="{925E52B4-432C-4FDB-A71F-65AC261C95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3AE0351C-B4A6-4291-97CC-B3159C0E63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14A195-0420-4901-9DD9-A5391E788FC7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807237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F5B304-88E2-4525-A4F4-65F514AD8D23}" type="datetimeFigureOut">
              <a:rPr lang="hu-HU" smtClean="0"/>
              <a:t>2024. 03. 01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38A958-340B-4686-AD5D-4B8694AD58FC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5107556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tiff"/><Relationship Id="rId4" Type="http://schemas.openxmlformats.org/officeDocument/2006/relationships/image" Target="../media/image12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571599" cy="68580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41" y="5877773"/>
            <a:ext cx="4021667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6799" y="5877773"/>
            <a:ext cx="1832472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4879" y="546368"/>
            <a:ext cx="2967080" cy="65676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1453" y="1632879"/>
            <a:ext cx="5961015" cy="4084241"/>
          </a:xfrm>
        </p:spPr>
        <p:txBody>
          <a:bodyPr>
            <a:noAutofit/>
          </a:bodyPr>
          <a:lstStyle>
            <a:lvl1pPr marL="0" indent="0">
              <a:lnSpc>
                <a:spcPts val="9600"/>
              </a:lnSpc>
              <a:spcBef>
                <a:spcPts val="0"/>
              </a:spcBef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3318542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72" y="0"/>
            <a:ext cx="4572000" cy="68580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29217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979" y="583645"/>
            <a:ext cx="6546851" cy="43660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96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1673" y="4815027"/>
            <a:ext cx="3994151" cy="116416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609585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1219170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575E8A-58E7-4C3A-A9FE-52EFDF5E00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28299" y="148036"/>
            <a:ext cx="221643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849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9304F-19CF-577D-4E10-ED86B44779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665" y="393582"/>
            <a:ext cx="10515600" cy="1325033"/>
          </a:xfrm>
        </p:spPr>
        <p:txBody>
          <a:bodyPr>
            <a:noAutofit/>
          </a:bodyPr>
          <a:lstStyle>
            <a:lvl1pPr>
              <a:defRPr sz="6400" b="1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pic>
        <p:nvPicPr>
          <p:cNvPr id="9" name="Picture 8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6709856C-8C5C-5120-67B1-8C945C5236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2"/>
          <a:stretch/>
        </p:blipFill>
        <p:spPr>
          <a:xfrm>
            <a:off x="674451" y="1926403"/>
            <a:ext cx="4600103" cy="2710005"/>
          </a:xfrm>
          <a:prstGeom prst="rect">
            <a:avLst/>
          </a:prstGeom>
        </p:spPr>
      </p:pic>
      <p:pic>
        <p:nvPicPr>
          <p:cNvPr id="11" name="Picture 10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20CF0FAB-65CB-0284-B84F-E234279C6A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632"/>
          <a:stretch/>
        </p:blipFill>
        <p:spPr>
          <a:xfrm>
            <a:off x="6268679" y="1926403"/>
            <a:ext cx="4600103" cy="2710005"/>
          </a:xfrm>
          <a:prstGeom prst="rect">
            <a:avLst/>
          </a:prstGeom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FD905E16-8BD4-F3DB-50B7-2F2A9613CE2F}"/>
              </a:ext>
            </a:extLst>
          </p:cNvPr>
          <p:cNvSpPr txBox="1">
            <a:spLocks/>
          </p:cNvSpPr>
          <p:nvPr userDrawn="1"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z="1333" smtClean="0">
                <a:solidFill>
                  <a:srgbClr val="404346"/>
                </a:solidFill>
              </a:rPr>
              <a:pPr/>
              <a:t>‹#›</a:t>
            </a:fld>
            <a:r>
              <a:rPr lang="en-GB" sz="1333">
                <a:solidFill>
                  <a:srgbClr val="404346"/>
                </a:solidFill>
              </a:rPr>
              <a:t> </a:t>
            </a:r>
            <a:r>
              <a:rPr lang="en-GB" sz="1333">
                <a:solidFill>
                  <a:srgbClr val="DDDE59"/>
                </a:solidFill>
                <a:sym typeface="Karla"/>
              </a:rPr>
              <a:t>|</a:t>
            </a:r>
            <a:r>
              <a:rPr lang="en-GB" sz="1333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sz="1333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06BEAB8-A960-9FF9-9F38-8BB7590D8A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0150" y="4861024"/>
            <a:ext cx="4724405" cy="16107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>
                <a:solidFill>
                  <a:srgbClr val="404346"/>
                </a:solidFill>
              </a:defRPr>
            </a:lvl2pPr>
            <a:lvl3pPr marL="1219170" indent="0">
              <a:buNone/>
              <a:defRPr>
                <a:solidFill>
                  <a:srgbClr val="404346"/>
                </a:solidFill>
              </a:defRPr>
            </a:lvl3pPr>
            <a:lvl4pPr marL="1828754" indent="0">
              <a:buNone/>
              <a:defRPr>
                <a:solidFill>
                  <a:srgbClr val="404346"/>
                </a:solidFill>
              </a:defRPr>
            </a:lvl4pPr>
            <a:lvl5pPr marL="2438339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867">
                <a:latin typeface="Karla" panose="020B0004030503030003" pitchFamily="34" charset="77"/>
              </a:rPr>
              <a:t>Lorem ipsum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sed</a:t>
            </a:r>
            <a:r>
              <a:rPr lang="en-GB" sz="1867">
                <a:latin typeface="Karla" panose="020B0004030503030003" pitchFamily="34" charset="77"/>
              </a:rPr>
              <a:t> do </a:t>
            </a:r>
            <a:r>
              <a:rPr lang="en-GB" sz="1867" err="1">
                <a:latin typeface="Karla" panose="020B0004030503030003" pitchFamily="34" charset="77"/>
              </a:rPr>
              <a:t>eiusmod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tempo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incididunt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ut</a:t>
            </a:r>
            <a:r>
              <a:rPr lang="en-GB" sz="1867">
                <a:latin typeface="Karla" panose="020B0004030503030003" pitchFamily="34" charset="77"/>
              </a:rPr>
              <a:t> labore et dolore magna </a:t>
            </a:r>
            <a:r>
              <a:rPr lang="en-GB" sz="1867" err="1">
                <a:latin typeface="Karla" panose="020B0004030503030003" pitchFamily="34" charset="77"/>
              </a:rPr>
              <a:t>aliqua</a:t>
            </a:r>
            <a:r>
              <a:rPr lang="en-GB" sz="1867">
                <a:latin typeface="Karla" panose="020B0004030503030003" pitchFamily="34" charset="77"/>
              </a:rPr>
              <a:t>. Lorem ipsum 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F1BDD90-10BB-7CB4-204E-B8AA013580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62738" y="4861024"/>
            <a:ext cx="4724405" cy="161078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>
                <a:solidFill>
                  <a:srgbClr val="404346"/>
                </a:solidFill>
              </a:defRPr>
            </a:lvl2pPr>
            <a:lvl3pPr marL="1219170" indent="0">
              <a:buNone/>
              <a:defRPr>
                <a:solidFill>
                  <a:srgbClr val="404346"/>
                </a:solidFill>
              </a:defRPr>
            </a:lvl3pPr>
            <a:lvl4pPr marL="1828754" indent="0">
              <a:buNone/>
              <a:defRPr>
                <a:solidFill>
                  <a:srgbClr val="404346"/>
                </a:solidFill>
              </a:defRPr>
            </a:lvl4pPr>
            <a:lvl5pPr marL="2438339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867">
                <a:latin typeface="Karla" panose="020B0004030503030003" pitchFamily="34" charset="77"/>
              </a:rPr>
              <a:t>Lorem ipsum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sed</a:t>
            </a:r>
            <a:r>
              <a:rPr lang="en-GB" sz="1867">
                <a:latin typeface="Karla" panose="020B0004030503030003" pitchFamily="34" charset="77"/>
              </a:rPr>
              <a:t> do </a:t>
            </a:r>
            <a:r>
              <a:rPr lang="en-GB" sz="1867" err="1">
                <a:latin typeface="Karla" panose="020B0004030503030003" pitchFamily="34" charset="77"/>
              </a:rPr>
              <a:t>eiusmod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tempo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incididunt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ut</a:t>
            </a:r>
            <a:r>
              <a:rPr lang="en-GB" sz="1867">
                <a:latin typeface="Karla" panose="020B0004030503030003" pitchFamily="34" charset="77"/>
              </a:rPr>
              <a:t> labore et dolore magna </a:t>
            </a:r>
            <a:r>
              <a:rPr lang="en-GB" sz="1867" err="1">
                <a:latin typeface="Karla" panose="020B0004030503030003" pitchFamily="34" charset="77"/>
              </a:rPr>
              <a:t>aliqua</a:t>
            </a:r>
            <a:r>
              <a:rPr lang="en-GB" sz="1867">
                <a:latin typeface="Karla" panose="020B0004030503030003" pitchFamily="34" charset="77"/>
              </a:rPr>
              <a:t>. Lorem ipsum 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0A7C13A6-270B-5B40-AA1E-AC08FB409D7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75218" y="1926167"/>
            <a:ext cx="4599516" cy="270933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25662F53-EDFB-E4EE-F564-345FB0C499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2454" y="1926167"/>
            <a:ext cx="4599516" cy="270933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2C674F9-CBAE-6DC0-8691-84DEA0CF28C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826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33E88EB0-130D-B9BB-EBD8-346EA5A142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67" b="23097"/>
          <a:stretch/>
        </p:blipFill>
        <p:spPr>
          <a:xfrm>
            <a:off x="674451" y="1612154"/>
            <a:ext cx="10843099" cy="392055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5E7337B6-3525-F177-A09A-F12F47F94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665" y="393582"/>
            <a:ext cx="10515600" cy="1325033"/>
          </a:xfrm>
        </p:spPr>
        <p:txBody>
          <a:bodyPr>
            <a:noAutofit/>
          </a:bodyPr>
          <a:lstStyle>
            <a:lvl1pPr>
              <a:defRPr sz="6400" b="1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852008-588E-6715-2A09-AD0FC0AE96EA}"/>
              </a:ext>
            </a:extLst>
          </p:cNvPr>
          <p:cNvSpPr txBox="1">
            <a:spLocks/>
          </p:cNvSpPr>
          <p:nvPr userDrawn="1"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z="1333" smtClean="0">
                <a:solidFill>
                  <a:srgbClr val="404346"/>
                </a:solidFill>
              </a:rPr>
              <a:pPr/>
              <a:t>‹#›</a:t>
            </a:fld>
            <a:r>
              <a:rPr lang="en-GB" sz="1333">
                <a:solidFill>
                  <a:srgbClr val="404346"/>
                </a:solidFill>
              </a:rPr>
              <a:t> </a:t>
            </a:r>
            <a:r>
              <a:rPr lang="en-GB" sz="1333">
                <a:solidFill>
                  <a:srgbClr val="DDDE59"/>
                </a:solidFill>
                <a:sym typeface="Karla"/>
              </a:rPr>
              <a:t>|</a:t>
            </a:r>
            <a:r>
              <a:rPr lang="en-GB" sz="1333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sz="1333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2163B1-48BC-AD30-D44F-885C7E57C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3398" y="5672881"/>
            <a:ext cx="11153693" cy="107840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>
                <a:solidFill>
                  <a:srgbClr val="404346"/>
                </a:solidFill>
              </a:defRPr>
            </a:lvl2pPr>
            <a:lvl3pPr marL="1219170" indent="0">
              <a:buNone/>
              <a:defRPr>
                <a:solidFill>
                  <a:srgbClr val="404346"/>
                </a:solidFill>
              </a:defRPr>
            </a:lvl3pPr>
            <a:lvl4pPr marL="1828754" indent="0">
              <a:buNone/>
              <a:defRPr>
                <a:solidFill>
                  <a:srgbClr val="404346"/>
                </a:solidFill>
              </a:defRPr>
            </a:lvl4pPr>
            <a:lvl5pPr marL="2438339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867">
                <a:latin typeface="Karla" panose="020B0004030503030003" pitchFamily="34" charset="77"/>
              </a:rPr>
              <a:t>Lorem ipsum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sed</a:t>
            </a:r>
            <a:r>
              <a:rPr lang="en-GB" sz="1867">
                <a:latin typeface="Karla" panose="020B0004030503030003" pitchFamily="34" charset="77"/>
              </a:rPr>
              <a:t> do </a:t>
            </a:r>
            <a:r>
              <a:rPr lang="en-GB" sz="1867" err="1">
                <a:latin typeface="Karla" panose="020B0004030503030003" pitchFamily="34" charset="77"/>
              </a:rPr>
              <a:t>eiusmod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tempo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incididunt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ut</a:t>
            </a:r>
            <a:r>
              <a:rPr lang="en-GB" sz="1867">
                <a:latin typeface="Karla" panose="020B0004030503030003" pitchFamily="34" charset="77"/>
              </a:rPr>
              <a:t> labore et dolore magna </a:t>
            </a:r>
            <a:r>
              <a:rPr lang="en-GB" sz="1867" err="1">
                <a:latin typeface="Karla" panose="020B0004030503030003" pitchFamily="34" charset="77"/>
              </a:rPr>
              <a:t>aliqua</a:t>
            </a:r>
            <a:r>
              <a:rPr lang="en-GB" sz="1867">
                <a:latin typeface="Karla" panose="020B0004030503030003" pitchFamily="34" charset="77"/>
              </a:rPr>
              <a:t>. Lorem ipsum 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.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04F9B08F-4E5A-4A63-30AF-1D26BB82FC0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74451" y="1612153"/>
            <a:ext cx="10836884" cy="3920559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217F59-A1FC-7FF1-11FA-72B60F3AD5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927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E7337B6-3525-F177-A09A-F12F47F94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665" y="393582"/>
            <a:ext cx="10515600" cy="1325033"/>
          </a:xfrm>
        </p:spPr>
        <p:txBody>
          <a:bodyPr>
            <a:noAutofit/>
          </a:bodyPr>
          <a:lstStyle>
            <a:lvl1pPr>
              <a:defRPr sz="6400" b="1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852008-588E-6715-2A09-AD0FC0AE96EA}"/>
              </a:ext>
            </a:extLst>
          </p:cNvPr>
          <p:cNvSpPr txBox="1">
            <a:spLocks/>
          </p:cNvSpPr>
          <p:nvPr userDrawn="1"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z="1333" smtClean="0">
                <a:solidFill>
                  <a:srgbClr val="404346"/>
                </a:solidFill>
              </a:rPr>
              <a:pPr/>
              <a:t>‹#›</a:t>
            </a:fld>
            <a:r>
              <a:rPr lang="en-GB" sz="1333">
                <a:solidFill>
                  <a:srgbClr val="404346"/>
                </a:solidFill>
              </a:rPr>
              <a:t> </a:t>
            </a:r>
            <a:r>
              <a:rPr lang="en-GB" sz="1333">
                <a:solidFill>
                  <a:srgbClr val="DDDE59"/>
                </a:solidFill>
                <a:sym typeface="Karla"/>
              </a:rPr>
              <a:t>|</a:t>
            </a:r>
            <a:r>
              <a:rPr lang="en-GB" sz="1333">
                <a:solidFill>
                  <a:srgbClr val="404346"/>
                </a:solidFill>
                <a:sym typeface="Karla"/>
              </a:rPr>
              <a:t> Lorem ipsum dolor sit amet</a:t>
            </a:r>
            <a:endParaRPr lang="en-GB" sz="1333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2163B1-48BC-AD30-D44F-885C7E57C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665" y="2072253"/>
            <a:ext cx="10515600" cy="430860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>
                <a:solidFill>
                  <a:srgbClr val="404346"/>
                </a:solidFill>
              </a:defRPr>
            </a:lvl2pPr>
            <a:lvl3pPr marL="1219170" indent="0">
              <a:buNone/>
              <a:defRPr>
                <a:solidFill>
                  <a:srgbClr val="404346"/>
                </a:solidFill>
              </a:defRPr>
            </a:lvl3pPr>
            <a:lvl4pPr marL="1828754" indent="0">
              <a:buNone/>
              <a:defRPr>
                <a:solidFill>
                  <a:srgbClr val="404346"/>
                </a:solidFill>
              </a:defRPr>
            </a:lvl4pPr>
            <a:lvl5pPr marL="2438339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867">
                <a:latin typeface="Karla" panose="020B0004030503030003" pitchFamily="34" charset="77"/>
              </a:rPr>
              <a:t>Lorem ipsum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sed</a:t>
            </a:r>
            <a:r>
              <a:rPr lang="en-GB" sz="1867">
                <a:latin typeface="Karla" panose="020B0004030503030003" pitchFamily="34" charset="77"/>
              </a:rPr>
              <a:t> do </a:t>
            </a:r>
            <a:r>
              <a:rPr lang="en-GB" sz="1867" err="1">
                <a:latin typeface="Karla" panose="020B0004030503030003" pitchFamily="34" charset="77"/>
              </a:rPr>
              <a:t>eiusmod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tempo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incididunt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ut</a:t>
            </a:r>
            <a:r>
              <a:rPr lang="en-GB" sz="1867">
                <a:latin typeface="Karla" panose="020B0004030503030003" pitchFamily="34" charset="77"/>
              </a:rPr>
              <a:t> labore et dolore magna </a:t>
            </a:r>
            <a:r>
              <a:rPr lang="en-GB" sz="1867" err="1">
                <a:latin typeface="Karla" panose="020B0004030503030003" pitchFamily="34" charset="77"/>
              </a:rPr>
              <a:t>aliqua</a:t>
            </a:r>
            <a:r>
              <a:rPr lang="en-GB" sz="1867">
                <a:latin typeface="Karla" panose="020B0004030503030003" pitchFamily="34" charset="77"/>
              </a:rPr>
              <a:t>. Lorem ipsum 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217F59-A1FC-7FF1-11FA-72B60F3AD5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37456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cons and body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CD0288-ACC2-B3AA-5250-24C77BB410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0391" y="4937341"/>
            <a:ext cx="685359" cy="9128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CB8B61A-CF4D-42AC-BB11-81654CE031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04750" y="2500675"/>
            <a:ext cx="1137773" cy="9088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3FBA87-E9DD-74B3-0C42-31C5351EFAD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362846" y="4737159"/>
            <a:ext cx="821580" cy="1112996"/>
          </a:xfrm>
          <a:prstGeom prst="rect">
            <a:avLst/>
          </a:prstGeom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4CBE46B-9017-5584-62DA-8DBA897D4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72C550C-70FA-B5A4-0D7E-C3C283EC16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254" y="1023181"/>
            <a:ext cx="5330637" cy="29237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</a:t>
            </a:r>
          </a:p>
          <a:p>
            <a:pPr lvl="0"/>
            <a:r>
              <a:rPr lang="en-GB"/>
              <a:t>Ipsum</a:t>
            </a:r>
          </a:p>
          <a:p>
            <a:pPr lvl="0"/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68BF0A9-2A51-CEA2-A3E2-B28D83FB00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2296511"/>
            <a:ext cx="1263600" cy="12721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endParaRPr lang="en-HU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5EC36D64-8CE3-5467-3679-446A5D885BC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53253" y="4631536"/>
            <a:ext cx="1270385" cy="12848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endParaRPr lang="en-HU"/>
          </a:p>
        </p:txBody>
      </p:sp>
      <p:sp>
        <p:nvSpPr>
          <p:cNvPr id="22" name="Picture Placeholder 17">
            <a:extLst>
              <a:ext uri="{FF2B5EF4-FFF2-40B4-BE49-F238E27FC236}">
                <a16:creationId xmlns:a16="http://schemas.microsoft.com/office/drawing/2014/main" id="{889B5C02-BF05-C72A-D518-CB6ED173DC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89214" y="4631536"/>
            <a:ext cx="1270385" cy="1284885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</a:lstStyle>
          <a:p>
            <a:endParaRPr lang="en-HU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FC562AFE-3600-05BE-2CE3-E85CD7EDFE1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55902" y="4631537"/>
            <a:ext cx="3280183" cy="1284884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/>
            </a:lvl2pPr>
            <a:lvl3pPr marL="1219170" indent="0">
              <a:buNone/>
              <a:defRPr sz="1333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81E4303A-1A76-EFBD-D1AE-F91063823BE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17681" y="4631537"/>
            <a:ext cx="3280183" cy="1284883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/>
            </a:lvl2pPr>
            <a:lvl3pPr marL="1219170" indent="0">
              <a:buNone/>
              <a:defRPr sz="1333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0317370F-9554-5872-D6DC-81E664369AD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55902" y="2296511"/>
            <a:ext cx="3280183" cy="1284884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/>
            </a:lvl2pPr>
            <a:lvl3pPr marL="1219170" indent="0">
              <a:buNone/>
              <a:defRPr sz="1333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D8B0B67-AB07-D889-DF3F-68C49906395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123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chart Layout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832" y="1024732"/>
            <a:ext cx="4096856" cy="318192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 Ipsum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50CB-C90B-92B1-B8E2-137D57389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832" y="4833229"/>
            <a:ext cx="4267453" cy="1381401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 sz="1867">
                <a:solidFill>
                  <a:srgbClr val="404346"/>
                </a:solidFill>
              </a:defRPr>
            </a:lvl2pPr>
            <a:lvl3pPr marL="1219170" indent="0">
              <a:buNone/>
              <a:defRPr sz="1867">
                <a:solidFill>
                  <a:srgbClr val="404346"/>
                </a:solidFill>
              </a:defRPr>
            </a:lvl3pPr>
            <a:lvl4pPr marL="1828754" indent="0">
              <a:buNone/>
              <a:defRPr sz="1867">
                <a:solidFill>
                  <a:srgbClr val="404346"/>
                </a:solidFill>
              </a:defRPr>
            </a:lvl4pPr>
            <a:lvl5pPr marL="2438339" indent="0">
              <a:buNone/>
              <a:defRPr sz="1867">
                <a:solidFill>
                  <a:srgbClr val="404346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</a:pP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</a:t>
            </a:r>
            <a:endParaRPr lang="en-GB"/>
          </a:p>
        </p:txBody>
      </p:sp>
      <p:sp>
        <p:nvSpPr>
          <p:cNvPr id="11" name="Google Shape;97;p6">
            <a:extLst>
              <a:ext uri="{FF2B5EF4-FFF2-40B4-BE49-F238E27FC236}">
                <a16:creationId xmlns:a16="http://schemas.microsoft.com/office/drawing/2014/main" id="{00C2E266-82C5-6C66-1292-D46E89A8F747}"/>
              </a:ext>
            </a:extLst>
          </p:cNvPr>
          <p:cNvSpPr/>
          <p:nvPr userDrawn="1"/>
        </p:nvSpPr>
        <p:spPr>
          <a:xfrm>
            <a:off x="5926933" y="587400"/>
            <a:ext cx="238401" cy="238401"/>
          </a:xfrm>
          <a:prstGeom prst="ellipse">
            <a:avLst/>
          </a:prstGeom>
          <a:solidFill>
            <a:srgbClr val="F3F3F3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Google Shape;98;p6">
            <a:extLst>
              <a:ext uri="{FF2B5EF4-FFF2-40B4-BE49-F238E27FC236}">
                <a16:creationId xmlns:a16="http://schemas.microsoft.com/office/drawing/2014/main" id="{8258137E-E390-F7F3-3485-FEBABDD26F50}"/>
              </a:ext>
            </a:extLst>
          </p:cNvPr>
          <p:cNvSpPr/>
          <p:nvPr userDrawn="1"/>
        </p:nvSpPr>
        <p:spPr>
          <a:xfrm>
            <a:off x="8424274" y="587400"/>
            <a:ext cx="238401" cy="238401"/>
          </a:xfrm>
          <a:prstGeom prst="ellipse">
            <a:avLst/>
          </a:prstGeom>
          <a:solidFill>
            <a:srgbClr val="404346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E006554F-123B-DA02-5631-A452447FA5A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5926668" y="1548245"/>
            <a:ext cx="5247217" cy="4891617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404346"/>
                </a:solidFill>
              </a:defRPr>
            </a:lvl1pPr>
          </a:lstStyle>
          <a:p>
            <a:endParaRPr lang="en-H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26043B3-8C21-96FA-AD6C-8176BD45ED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92986" y="441931"/>
            <a:ext cx="1849967" cy="529335"/>
          </a:xfrm>
        </p:spPr>
        <p:txBody>
          <a:bodyPr anchor="ctr">
            <a:noAutofit/>
          </a:bodyPr>
          <a:lstStyle>
            <a:lvl1pPr marL="0" indent="0"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>
                <a:solidFill>
                  <a:srgbClr val="404346"/>
                </a:solidFill>
              </a:defRPr>
            </a:lvl2pPr>
            <a:lvl3pPr marL="1219170" indent="0">
              <a:buNone/>
              <a:defRPr sz="1333">
                <a:solidFill>
                  <a:srgbClr val="404346"/>
                </a:solidFill>
              </a:defRPr>
            </a:lvl3pPr>
            <a:lvl4pPr marL="1828754" indent="0">
              <a:buNone/>
              <a:defRPr sz="1333">
                <a:solidFill>
                  <a:srgbClr val="404346"/>
                </a:solidFill>
              </a:defRPr>
            </a:lvl4pPr>
            <a:lvl5pPr marL="2438339" indent="0">
              <a:buNone/>
              <a:defRPr sz="1333">
                <a:solidFill>
                  <a:srgbClr val="404346"/>
                </a:solidFill>
              </a:defRPr>
            </a:lvl5pPr>
          </a:lstStyle>
          <a:p>
            <a:pPr lvl="0"/>
            <a:r>
              <a:rPr lang="en-GB"/>
              <a:t>Lorem ipsum</a:t>
            </a:r>
            <a:endParaRPr lang="en-HU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A3842078-62C7-7D9D-A3A2-E7C7BAC467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91487" y="441931"/>
            <a:ext cx="1849967" cy="529335"/>
          </a:xfrm>
        </p:spPr>
        <p:txBody>
          <a:bodyPr anchor="ctr">
            <a:noAutofit/>
          </a:bodyPr>
          <a:lstStyle>
            <a:lvl1pPr marL="0" indent="0"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>
                <a:solidFill>
                  <a:srgbClr val="404346"/>
                </a:solidFill>
              </a:defRPr>
            </a:lvl2pPr>
            <a:lvl3pPr marL="1219170" indent="0">
              <a:buNone/>
              <a:defRPr sz="1333">
                <a:solidFill>
                  <a:srgbClr val="404346"/>
                </a:solidFill>
              </a:defRPr>
            </a:lvl3pPr>
            <a:lvl4pPr marL="1828754" indent="0">
              <a:buNone/>
              <a:defRPr sz="1333">
                <a:solidFill>
                  <a:srgbClr val="404346"/>
                </a:solidFill>
              </a:defRPr>
            </a:lvl4pPr>
            <a:lvl5pPr marL="2438339" indent="0">
              <a:buNone/>
              <a:defRPr sz="1333">
                <a:solidFill>
                  <a:srgbClr val="404346"/>
                </a:solidFill>
              </a:defRPr>
            </a:lvl5pPr>
          </a:lstStyle>
          <a:p>
            <a:pPr lvl="0"/>
            <a:r>
              <a:rPr lang="en-GB"/>
              <a:t>Lorem ipsum</a:t>
            </a:r>
            <a:endParaRPr lang="en-HU"/>
          </a:p>
        </p:txBody>
      </p:sp>
      <p:grpSp>
        <p:nvGrpSpPr>
          <p:cNvPr id="20" name="Google Shape;108;p18">
            <a:extLst>
              <a:ext uri="{FF2B5EF4-FFF2-40B4-BE49-F238E27FC236}">
                <a16:creationId xmlns:a16="http://schemas.microsoft.com/office/drawing/2014/main" id="{2DFCD432-DAD8-E1AD-3222-4480646F3612}"/>
              </a:ext>
            </a:extLst>
          </p:cNvPr>
          <p:cNvGrpSpPr/>
          <p:nvPr userDrawn="1"/>
        </p:nvGrpSpPr>
        <p:grpSpPr>
          <a:xfrm>
            <a:off x="6110292" y="1707327"/>
            <a:ext cx="4866235" cy="4563275"/>
            <a:chOff x="0" y="0"/>
            <a:chExt cx="3649675" cy="3422455"/>
          </a:xfrm>
        </p:grpSpPr>
        <p:sp>
          <p:nvSpPr>
            <p:cNvPr id="22" name="Google Shape;109;p18">
              <a:extLst>
                <a:ext uri="{FF2B5EF4-FFF2-40B4-BE49-F238E27FC236}">
                  <a16:creationId xmlns:a16="http://schemas.microsoft.com/office/drawing/2014/main" id="{6D379385-2D80-767A-2FBB-E6FA1B3F9D6C}"/>
                </a:ext>
              </a:extLst>
            </p:cNvPr>
            <p:cNvSpPr/>
            <p:nvPr/>
          </p:nvSpPr>
          <p:spPr>
            <a:xfrm flipV="1">
              <a:off x="-1" y="0"/>
              <a:ext cx="2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23" name="Google Shape;110;p18">
              <a:extLst>
                <a:ext uri="{FF2B5EF4-FFF2-40B4-BE49-F238E27FC236}">
                  <a16:creationId xmlns:a16="http://schemas.microsoft.com/office/drawing/2014/main" id="{BC279E8C-F3B3-CB72-045B-D51AF6D70F1A}"/>
                </a:ext>
              </a:extLst>
            </p:cNvPr>
            <p:cNvSpPr/>
            <p:nvPr/>
          </p:nvSpPr>
          <p:spPr>
            <a:xfrm flipV="1">
              <a:off x="910300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25" name="Google Shape;111;p18">
              <a:extLst>
                <a:ext uri="{FF2B5EF4-FFF2-40B4-BE49-F238E27FC236}">
                  <a16:creationId xmlns:a16="http://schemas.microsoft.com/office/drawing/2014/main" id="{E1AB547B-19B7-D4B2-F11C-A59588A21C2E}"/>
                </a:ext>
              </a:extLst>
            </p:cNvPr>
            <p:cNvSpPr/>
            <p:nvPr/>
          </p:nvSpPr>
          <p:spPr>
            <a:xfrm flipV="1">
              <a:off x="1829100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26" name="Google Shape;112;p18">
              <a:extLst>
                <a:ext uri="{FF2B5EF4-FFF2-40B4-BE49-F238E27FC236}">
                  <a16:creationId xmlns:a16="http://schemas.microsoft.com/office/drawing/2014/main" id="{D521F2A9-708C-F9A2-9662-A933D597F56C}"/>
                </a:ext>
              </a:extLst>
            </p:cNvPr>
            <p:cNvSpPr/>
            <p:nvPr/>
          </p:nvSpPr>
          <p:spPr>
            <a:xfrm flipV="1">
              <a:off x="2730875" y="0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400"/>
            </a:p>
          </p:txBody>
        </p:sp>
        <p:sp>
          <p:nvSpPr>
            <p:cNvPr id="27" name="Google Shape;113;p18">
              <a:extLst>
                <a:ext uri="{FF2B5EF4-FFF2-40B4-BE49-F238E27FC236}">
                  <a16:creationId xmlns:a16="http://schemas.microsoft.com/office/drawing/2014/main" id="{1B996F80-3B12-B1E6-C852-76AFAEAD6BF5}"/>
                </a:ext>
              </a:extLst>
            </p:cNvPr>
            <p:cNvSpPr/>
            <p:nvPr/>
          </p:nvSpPr>
          <p:spPr>
            <a:xfrm flipV="1">
              <a:off x="3649675" y="20155"/>
              <a:ext cx="1" cy="3402301"/>
            </a:xfrm>
            <a:prstGeom prst="line">
              <a:avLst/>
            </a:prstGeom>
            <a:noFill/>
            <a:ln w="228600" cap="rnd">
              <a:solidFill>
                <a:srgbClr val="404346"/>
              </a:solidFill>
              <a:prstDash val="solid"/>
              <a:round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endParaRPr sz="2400"/>
            </a:p>
          </p:txBody>
        </p:sp>
      </p:grpSp>
      <p:sp>
        <p:nvSpPr>
          <p:cNvPr id="28" name="Google Shape;114;p18">
            <a:extLst>
              <a:ext uri="{FF2B5EF4-FFF2-40B4-BE49-F238E27FC236}">
                <a16:creationId xmlns:a16="http://schemas.microsoft.com/office/drawing/2014/main" id="{5E9855FB-0F36-7FAF-3213-6B4A0DB7143B}"/>
              </a:ext>
            </a:extLst>
          </p:cNvPr>
          <p:cNvSpPr/>
          <p:nvPr userDrawn="1"/>
        </p:nvSpPr>
        <p:spPr>
          <a:xfrm flipV="1">
            <a:off x="6105049" y="3908602"/>
            <a:ext cx="1" cy="23620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 sz="2400"/>
          </a:p>
        </p:txBody>
      </p:sp>
      <p:sp>
        <p:nvSpPr>
          <p:cNvPr id="29" name="Google Shape;115;p18">
            <a:extLst>
              <a:ext uri="{FF2B5EF4-FFF2-40B4-BE49-F238E27FC236}">
                <a16:creationId xmlns:a16="http://schemas.microsoft.com/office/drawing/2014/main" id="{8538D812-53B0-988E-454D-CF2BE03EBBB1}"/>
              </a:ext>
            </a:extLst>
          </p:cNvPr>
          <p:cNvSpPr/>
          <p:nvPr userDrawn="1"/>
        </p:nvSpPr>
        <p:spPr>
          <a:xfrm flipV="1">
            <a:off x="7324027" y="2672470"/>
            <a:ext cx="1" cy="3576953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 sz="2400"/>
          </a:p>
        </p:txBody>
      </p:sp>
      <p:sp>
        <p:nvSpPr>
          <p:cNvPr id="30" name="Google Shape;116;p18">
            <a:extLst>
              <a:ext uri="{FF2B5EF4-FFF2-40B4-BE49-F238E27FC236}">
                <a16:creationId xmlns:a16="http://schemas.microsoft.com/office/drawing/2014/main" id="{1FA862E1-EE32-4B53-5D9B-773ED733B1E9}"/>
              </a:ext>
            </a:extLst>
          </p:cNvPr>
          <p:cNvSpPr/>
          <p:nvPr userDrawn="1"/>
        </p:nvSpPr>
        <p:spPr>
          <a:xfrm flipV="1">
            <a:off x="8549094" y="3728224"/>
            <a:ext cx="1" cy="25212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 sz="2400"/>
          </a:p>
        </p:txBody>
      </p:sp>
      <p:sp>
        <p:nvSpPr>
          <p:cNvPr id="31" name="Google Shape;117;p18">
            <a:extLst>
              <a:ext uri="{FF2B5EF4-FFF2-40B4-BE49-F238E27FC236}">
                <a16:creationId xmlns:a16="http://schemas.microsoft.com/office/drawing/2014/main" id="{FFC3C50A-B1FD-5915-68F5-FF5CA381DE24}"/>
              </a:ext>
            </a:extLst>
          </p:cNvPr>
          <p:cNvSpPr/>
          <p:nvPr userDrawn="1"/>
        </p:nvSpPr>
        <p:spPr>
          <a:xfrm flipV="1">
            <a:off x="9751460" y="4319024"/>
            <a:ext cx="1" cy="19304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 sz="2400"/>
          </a:p>
        </p:txBody>
      </p:sp>
      <p:sp>
        <p:nvSpPr>
          <p:cNvPr id="32" name="Google Shape;118;p18">
            <a:extLst>
              <a:ext uri="{FF2B5EF4-FFF2-40B4-BE49-F238E27FC236}">
                <a16:creationId xmlns:a16="http://schemas.microsoft.com/office/drawing/2014/main" id="{F013F92E-7FCD-0602-ED85-E1B3481BBBBA}"/>
              </a:ext>
            </a:extLst>
          </p:cNvPr>
          <p:cNvSpPr/>
          <p:nvPr userDrawn="1"/>
        </p:nvSpPr>
        <p:spPr>
          <a:xfrm flipV="1">
            <a:off x="10976526" y="3126613"/>
            <a:ext cx="1" cy="3144001"/>
          </a:xfrm>
          <a:prstGeom prst="line">
            <a:avLst/>
          </a:prstGeom>
          <a:ln w="228600" cap="rnd">
            <a:solidFill>
              <a:srgbClr val="F3F3F3"/>
            </a:solidFill>
          </a:ln>
        </p:spPr>
        <p:txBody>
          <a:bodyPr lIns="0" tIns="0" rIns="0" bIns="0"/>
          <a:lstStyle/>
          <a:p>
            <a:endParaRPr sz="240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2D62ADA0-64E5-6347-9E78-63DF252711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222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lumns text, pictur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person, outdoor&#10;&#10;Description automatically generated">
            <a:extLst>
              <a:ext uri="{FF2B5EF4-FFF2-40B4-BE49-F238E27FC236}">
                <a16:creationId xmlns:a16="http://schemas.microsoft.com/office/drawing/2014/main" id="{689BA5A2-D453-C5B6-704D-8084EEB85F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5246915" cy="3497943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00637" y="4072722"/>
            <a:ext cx="4748364" cy="1518453"/>
          </a:xfr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609585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1219170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9EAF11-1727-9408-FECF-99A67C6813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-1"/>
            <a:ext cx="5283199" cy="3497943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68242E25-9545-BC21-E8CD-D02CF2DEFB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8511" y="4072722"/>
            <a:ext cx="4748364" cy="1518453"/>
          </a:xfrm>
        </p:spPr>
        <p:txBody>
          <a:bodyPr/>
          <a:lstStyle>
            <a:lvl1pPr marL="0" indent="0" algn="just">
              <a:lnSpc>
                <a:spcPct val="100000"/>
              </a:lnSpc>
              <a:spcBef>
                <a:spcPts val="0"/>
              </a:spcBef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609585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1219170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quis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nostru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exercitation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llamco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aboris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nisi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AF7B01-5383-86D1-7D27-D7CE7FCF6A8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01317" y="789516"/>
            <a:ext cx="4747683" cy="303106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64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1B8A78-3B4C-5ECC-29D6-A68F81AF0D8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8050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chart Layout 2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34;p20">
            <a:extLst>
              <a:ext uri="{FF2B5EF4-FFF2-40B4-BE49-F238E27FC236}">
                <a16:creationId xmlns:a16="http://schemas.microsoft.com/office/drawing/2014/main" id="{F1E49B88-74B5-0428-033F-553152586102}"/>
              </a:ext>
            </a:extLst>
          </p:cNvPr>
          <p:cNvSpPr/>
          <p:nvPr userDrawn="1"/>
        </p:nvSpPr>
        <p:spPr>
          <a:xfrm>
            <a:off x="6569366" y="635833"/>
            <a:ext cx="2566001" cy="2566000"/>
          </a:xfrm>
          <a:prstGeom prst="ellipse">
            <a:avLst/>
          </a:prstGeom>
          <a:ln w="152400">
            <a:solidFill>
              <a:srgbClr val="404346"/>
            </a:solidFill>
          </a:ln>
        </p:spPr>
        <p:txBody>
          <a:bodyPr lIns="0" tIns="0" rIns="0" bIns="0" anchor="ctr"/>
          <a:lstStyle/>
          <a:p>
            <a:endParaRPr sz="2400"/>
          </a:p>
        </p:txBody>
      </p:sp>
      <p:sp>
        <p:nvSpPr>
          <p:cNvPr id="12" name="Google Shape;137;p20">
            <a:extLst>
              <a:ext uri="{FF2B5EF4-FFF2-40B4-BE49-F238E27FC236}">
                <a16:creationId xmlns:a16="http://schemas.microsoft.com/office/drawing/2014/main" id="{9CB8B3E1-7933-7475-404F-C3D883E24DB9}"/>
              </a:ext>
            </a:extLst>
          </p:cNvPr>
          <p:cNvSpPr/>
          <p:nvPr userDrawn="1"/>
        </p:nvSpPr>
        <p:spPr>
          <a:xfrm>
            <a:off x="7742081" y="635757"/>
            <a:ext cx="1393311" cy="243477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986" h="21114" extrusionOk="0">
                <a:moveTo>
                  <a:pt x="0" y="42"/>
                </a:moveTo>
                <a:lnTo>
                  <a:pt x="0" y="42"/>
                </a:lnTo>
                <a:cubicBezTo>
                  <a:pt x="10633" y="-486"/>
                  <a:pt x="19997" y="4049"/>
                  <a:pt x="20915" y="10170"/>
                </a:cubicBezTo>
                <a:cubicBezTo>
                  <a:pt x="21600" y="14744"/>
                  <a:pt x="17335" y="19091"/>
                  <a:pt x="10178" y="21114"/>
                </a:cubicBezTo>
              </a:path>
            </a:pathLst>
          </a:custGeom>
          <a:ln w="152400">
            <a:solidFill>
              <a:srgbClr val="DDDE59"/>
            </a:solidFill>
          </a:ln>
        </p:spPr>
        <p:txBody>
          <a:bodyPr lIns="0" tIns="0" rIns="0" bIns="0" anchor="ctr"/>
          <a:lstStyle/>
          <a:p>
            <a:endParaRPr sz="2400"/>
          </a:p>
        </p:txBody>
      </p:sp>
      <p:sp>
        <p:nvSpPr>
          <p:cNvPr id="13" name="Google Shape;138;p20">
            <a:extLst>
              <a:ext uri="{FF2B5EF4-FFF2-40B4-BE49-F238E27FC236}">
                <a16:creationId xmlns:a16="http://schemas.microsoft.com/office/drawing/2014/main" id="{1A247777-47AC-D410-E25A-3A2A0994EA06}"/>
              </a:ext>
            </a:extLst>
          </p:cNvPr>
          <p:cNvSpPr txBox="1"/>
          <p:nvPr userDrawn="1"/>
        </p:nvSpPr>
        <p:spPr>
          <a:xfrm>
            <a:off x="7359266" y="1634966"/>
            <a:ext cx="1031601" cy="6155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21899" tIns="121899" rIns="121899" bIns="121899">
            <a:spAutoFit/>
          </a:bodyPr>
          <a:lstStyle>
            <a:lvl1pPr>
              <a:defRPr>
                <a:solidFill>
                  <a:srgbClr val="434343"/>
                </a:solidFill>
                <a:latin typeface="DM Mono Medium"/>
                <a:ea typeface="DM Mono Medium"/>
                <a:cs typeface="DM Mono Medium"/>
                <a:sym typeface="DM Mono Medium"/>
              </a:defRPr>
            </a:lvl1pPr>
          </a:lstStyle>
          <a:p>
            <a:r>
              <a:rPr sz="2400" b="1">
                <a:latin typeface="Ubuntu" panose="020B0504030602030204" pitchFamily="34" charset="0"/>
              </a:rPr>
              <a:t>20</a:t>
            </a:r>
            <a:r>
              <a:rPr lang="hu-HU" sz="2400" b="1">
                <a:latin typeface="Ubuntu" panose="020B0504030602030204" pitchFamily="34" charset="0"/>
              </a:rPr>
              <a:t>20</a:t>
            </a:r>
            <a:endParaRPr sz="2400" b="1">
              <a:latin typeface="Ubuntu" panose="020B0504030602030204" pitchFamily="34" charset="0"/>
            </a:endParaRPr>
          </a:p>
        </p:txBody>
      </p:sp>
      <p:sp>
        <p:nvSpPr>
          <p:cNvPr id="14" name="Google Shape;139;p20">
            <a:extLst>
              <a:ext uri="{FF2B5EF4-FFF2-40B4-BE49-F238E27FC236}">
                <a16:creationId xmlns:a16="http://schemas.microsoft.com/office/drawing/2014/main" id="{4711434A-4E2D-BB15-ADBF-EBA16E77CE7D}"/>
              </a:ext>
            </a:extLst>
          </p:cNvPr>
          <p:cNvSpPr/>
          <p:nvPr userDrawn="1"/>
        </p:nvSpPr>
        <p:spPr>
          <a:xfrm>
            <a:off x="6592068" y="3656168"/>
            <a:ext cx="2566001" cy="2566001"/>
          </a:xfrm>
          <a:prstGeom prst="ellipse">
            <a:avLst/>
          </a:prstGeom>
          <a:ln w="152400">
            <a:solidFill>
              <a:srgbClr val="404346"/>
            </a:solidFill>
          </a:ln>
        </p:spPr>
        <p:txBody>
          <a:bodyPr lIns="0" tIns="0" rIns="0" bIns="0" anchor="ctr"/>
          <a:lstStyle/>
          <a:p>
            <a:endParaRPr sz="2400"/>
          </a:p>
        </p:txBody>
      </p:sp>
      <p:sp>
        <p:nvSpPr>
          <p:cNvPr id="15" name="Google Shape;140;p20">
            <a:extLst>
              <a:ext uri="{FF2B5EF4-FFF2-40B4-BE49-F238E27FC236}">
                <a16:creationId xmlns:a16="http://schemas.microsoft.com/office/drawing/2014/main" id="{F6137733-7A13-AB63-D1F4-41046F645E58}"/>
              </a:ext>
            </a:extLst>
          </p:cNvPr>
          <p:cNvSpPr/>
          <p:nvPr userDrawn="1"/>
        </p:nvSpPr>
        <p:spPr>
          <a:xfrm>
            <a:off x="6677363" y="3656091"/>
            <a:ext cx="2480780" cy="256610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122" h="20786" extrusionOk="0">
                <a:moveTo>
                  <a:pt x="9259" y="39"/>
                </a:moveTo>
                <a:lnTo>
                  <a:pt x="9259" y="39"/>
                </a:lnTo>
                <a:cubicBezTo>
                  <a:pt x="15270" y="-454"/>
                  <a:pt x="20563" y="3782"/>
                  <a:pt x="21081" y="9500"/>
                </a:cubicBezTo>
                <a:cubicBezTo>
                  <a:pt x="21600" y="15219"/>
                  <a:pt x="17148" y="20255"/>
                  <a:pt x="11137" y="20748"/>
                </a:cubicBezTo>
                <a:cubicBezTo>
                  <a:pt x="6287" y="21146"/>
                  <a:pt x="1745" y="18443"/>
                  <a:pt x="0" y="14120"/>
                </a:cubicBezTo>
              </a:path>
            </a:pathLst>
          </a:custGeom>
          <a:ln w="152400">
            <a:solidFill>
              <a:srgbClr val="DDDE59"/>
            </a:solidFill>
          </a:ln>
        </p:spPr>
        <p:txBody>
          <a:bodyPr lIns="0" tIns="0" rIns="0" bIns="0" anchor="ctr"/>
          <a:lstStyle/>
          <a:p>
            <a:endParaRPr sz="2400"/>
          </a:p>
        </p:txBody>
      </p:sp>
      <p:sp>
        <p:nvSpPr>
          <p:cNvPr id="17" name="Google Shape;141;p20">
            <a:extLst>
              <a:ext uri="{FF2B5EF4-FFF2-40B4-BE49-F238E27FC236}">
                <a16:creationId xmlns:a16="http://schemas.microsoft.com/office/drawing/2014/main" id="{D9633F14-057D-F309-D4E9-E1F7DF4EB596}"/>
              </a:ext>
            </a:extLst>
          </p:cNvPr>
          <p:cNvSpPr txBox="1"/>
          <p:nvPr userDrawn="1"/>
        </p:nvSpPr>
        <p:spPr>
          <a:xfrm>
            <a:off x="7381966" y="4655299"/>
            <a:ext cx="1031601" cy="61551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121899" tIns="121899" rIns="121899" bIns="121899">
            <a:spAutoFit/>
          </a:bodyPr>
          <a:lstStyle>
            <a:lvl1pPr>
              <a:defRPr>
                <a:solidFill>
                  <a:srgbClr val="434343"/>
                </a:solidFill>
                <a:latin typeface="DM Mono Medium"/>
                <a:ea typeface="DM Mono Medium"/>
                <a:cs typeface="DM Mono Medium"/>
                <a:sym typeface="DM Mono Medium"/>
              </a:defRPr>
            </a:lvl1pPr>
          </a:lstStyle>
          <a:p>
            <a:r>
              <a:rPr sz="2400" b="1">
                <a:latin typeface="Ubuntu" panose="020B0504030602030204" pitchFamily="34" charset="0"/>
              </a:rPr>
              <a:t>202</a:t>
            </a:r>
            <a:r>
              <a:rPr lang="hu-HU" sz="2400" b="1">
                <a:latin typeface="Ubuntu" panose="020B0504030602030204" pitchFamily="34" charset="0"/>
              </a:rPr>
              <a:t>1</a:t>
            </a:r>
            <a:endParaRPr sz="2400" b="1">
              <a:latin typeface="Ubuntu" panose="020B050403060203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832" y="1024732"/>
            <a:ext cx="4096856" cy="318192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 Ipsum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30E50CB-C90B-92B1-B8E2-137D57389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832" y="4833229"/>
            <a:ext cx="4267453" cy="1381401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 sz="1867">
                <a:solidFill>
                  <a:srgbClr val="404346"/>
                </a:solidFill>
              </a:defRPr>
            </a:lvl2pPr>
            <a:lvl3pPr marL="1219170" indent="0">
              <a:buNone/>
              <a:defRPr sz="1867">
                <a:solidFill>
                  <a:srgbClr val="404346"/>
                </a:solidFill>
              </a:defRPr>
            </a:lvl3pPr>
            <a:lvl4pPr marL="1828754" indent="0">
              <a:buNone/>
              <a:defRPr sz="1867">
                <a:solidFill>
                  <a:srgbClr val="404346"/>
                </a:solidFill>
              </a:defRPr>
            </a:lvl4pPr>
            <a:lvl5pPr marL="2438339" indent="0">
              <a:buNone/>
              <a:defRPr sz="1867">
                <a:solidFill>
                  <a:srgbClr val="404346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Karla"/>
              <a:buNone/>
            </a:pP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E006554F-123B-DA02-5631-A452447FA5A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5876977" y="281606"/>
            <a:ext cx="3859779" cy="6294788"/>
          </a:xfrm>
        </p:spPr>
        <p:txBody>
          <a:bodyPr anchor="ctr"/>
          <a:lstStyle>
            <a:lvl1pPr marL="0" indent="0" algn="ctr">
              <a:buNone/>
              <a:defRPr>
                <a:solidFill>
                  <a:srgbClr val="404346"/>
                </a:solidFill>
              </a:defRPr>
            </a:lvl1pPr>
          </a:lstStyle>
          <a:p>
            <a:endParaRPr lang="en-HU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26043B3-8C21-96FA-AD6C-8176BD45ED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297390" y="4973131"/>
            <a:ext cx="1849967" cy="529335"/>
          </a:xfrm>
        </p:spPr>
        <p:txBody>
          <a:bodyPr anchor="ctr">
            <a:noAutofit/>
          </a:bodyPr>
          <a:lstStyle>
            <a:lvl1pPr marL="0" indent="0"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>
                <a:solidFill>
                  <a:srgbClr val="404346"/>
                </a:solidFill>
              </a:defRPr>
            </a:lvl2pPr>
            <a:lvl3pPr marL="1219170" indent="0">
              <a:buNone/>
              <a:defRPr sz="1333">
                <a:solidFill>
                  <a:srgbClr val="404346"/>
                </a:solidFill>
              </a:defRPr>
            </a:lvl3pPr>
            <a:lvl4pPr marL="1828754" indent="0">
              <a:buNone/>
              <a:defRPr sz="1333">
                <a:solidFill>
                  <a:srgbClr val="404346"/>
                </a:solidFill>
              </a:defRPr>
            </a:lvl4pPr>
            <a:lvl5pPr marL="2438339" indent="0">
              <a:buNone/>
              <a:defRPr sz="1333">
                <a:solidFill>
                  <a:srgbClr val="404346"/>
                </a:solidFill>
              </a:defRPr>
            </a:lvl5pPr>
          </a:lstStyle>
          <a:p>
            <a:pPr lvl="0"/>
            <a:r>
              <a:rPr lang="en-GB"/>
              <a:t>Lorem ipsum</a:t>
            </a:r>
            <a:endParaRPr lang="en-HU"/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A3842078-62C7-7D9D-A3A2-E7C7BAC467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97390" y="5521735"/>
            <a:ext cx="1849967" cy="529335"/>
          </a:xfrm>
        </p:spPr>
        <p:txBody>
          <a:bodyPr anchor="ctr">
            <a:noAutofit/>
          </a:bodyPr>
          <a:lstStyle>
            <a:lvl1pPr marL="0" indent="0"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>
                <a:solidFill>
                  <a:srgbClr val="404346"/>
                </a:solidFill>
              </a:defRPr>
            </a:lvl2pPr>
            <a:lvl3pPr marL="1219170" indent="0">
              <a:buNone/>
              <a:defRPr sz="1333">
                <a:solidFill>
                  <a:srgbClr val="404346"/>
                </a:solidFill>
              </a:defRPr>
            </a:lvl3pPr>
            <a:lvl4pPr marL="1828754" indent="0">
              <a:buNone/>
              <a:defRPr sz="1333">
                <a:solidFill>
                  <a:srgbClr val="404346"/>
                </a:solidFill>
              </a:defRPr>
            </a:lvl4pPr>
            <a:lvl5pPr marL="2438339" indent="0">
              <a:buNone/>
              <a:defRPr sz="1333">
                <a:solidFill>
                  <a:srgbClr val="404346"/>
                </a:solidFill>
              </a:defRPr>
            </a:lvl5pPr>
          </a:lstStyle>
          <a:p>
            <a:pPr lvl="0"/>
            <a:r>
              <a:rPr lang="en-GB"/>
              <a:t>Lorem ipsum</a:t>
            </a:r>
            <a:endParaRPr lang="en-HU"/>
          </a:p>
        </p:txBody>
      </p:sp>
      <p:sp>
        <p:nvSpPr>
          <p:cNvPr id="27" name="Google Shape;135;p8">
            <a:extLst>
              <a:ext uri="{FF2B5EF4-FFF2-40B4-BE49-F238E27FC236}">
                <a16:creationId xmlns:a16="http://schemas.microsoft.com/office/drawing/2014/main" id="{DA017D68-E4AD-C8A8-F745-CA5E6A7152FE}"/>
              </a:ext>
            </a:extLst>
          </p:cNvPr>
          <p:cNvSpPr/>
          <p:nvPr userDrawn="1"/>
        </p:nvSpPr>
        <p:spPr>
          <a:xfrm>
            <a:off x="9844168" y="5132133"/>
            <a:ext cx="238401" cy="238401"/>
          </a:xfrm>
          <a:prstGeom prst="ellipse">
            <a:avLst/>
          </a:prstGeom>
          <a:solidFill>
            <a:srgbClr val="DDDE59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8" name="Google Shape;136;p8">
            <a:extLst>
              <a:ext uri="{FF2B5EF4-FFF2-40B4-BE49-F238E27FC236}">
                <a16:creationId xmlns:a16="http://schemas.microsoft.com/office/drawing/2014/main" id="{F2172A50-081B-F7BE-764A-96F45EDC7859}"/>
              </a:ext>
            </a:extLst>
          </p:cNvPr>
          <p:cNvSpPr/>
          <p:nvPr userDrawn="1"/>
        </p:nvSpPr>
        <p:spPr>
          <a:xfrm>
            <a:off x="9844168" y="5675933"/>
            <a:ext cx="238401" cy="238401"/>
          </a:xfrm>
          <a:prstGeom prst="ellipse">
            <a:avLst/>
          </a:prstGeom>
          <a:solidFill>
            <a:srgbClr val="1B333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48FE773-D132-83C5-C9E9-577D0F3EDE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300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-3-4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45;p9">
            <a:extLst>
              <a:ext uri="{FF2B5EF4-FFF2-40B4-BE49-F238E27FC236}">
                <a16:creationId xmlns:a16="http://schemas.microsoft.com/office/drawing/2014/main" id="{35782A93-822E-23F4-994B-D286079C566D}"/>
              </a:ext>
            </a:extLst>
          </p:cNvPr>
          <p:cNvSpPr/>
          <p:nvPr userDrawn="1"/>
        </p:nvSpPr>
        <p:spPr>
          <a:xfrm>
            <a:off x="408766" y="4598501"/>
            <a:ext cx="567601" cy="5676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8" name="Google Shape;146;p9">
            <a:extLst>
              <a:ext uri="{FF2B5EF4-FFF2-40B4-BE49-F238E27FC236}">
                <a16:creationId xmlns:a16="http://schemas.microsoft.com/office/drawing/2014/main" id="{9F873C51-7D5C-D633-A51F-6C82C5E578CA}"/>
              </a:ext>
            </a:extLst>
          </p:cNvPr>
          <p:cNvCxnSpPr/>
          <p:nvPr userDrawn="1"/>
        </p:nvCxnSpPr>
        <p:spPr>
          <a:xfrm>
            <a:off x="976365" y="4882300"/>
            <a:ext cx="2259603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1" name="Google Shape;149;p9">
            <a:extLst>
              <a:ext uri="{FF2B5EF4-FFF2-40B4-BE49-F238E27FC236}">
                <a16:creationId xmlns:a16="http://schemas.microsoft.com/office/drawing/2014/main" id="{087B94D0-3D45-E3D2-D982-189A619CDAD7}"/>
              </a:ext>
            </a:extLst>
          </p:cNvPr>
          <p:cNvSpPr/>
          <p:nvPr userDrawn="1"/>
        </p:nvSpPr>
        <p:spPr>
          <a:xfrm>
            <a:off x="3279120" y="4599149"/>
            <a:ext cx="567600" cy="5676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" name="Google Shape;150;p9">
            <a:extLst>
              <a:ext uri="{FF2B5EF4-FFF2-40B4-BE49-F238E27FC236}">
                <a16:creationId xmlns:a16="http://schemas.microsoft.com/office/drawing/2014/main" id="{4081F8CB-3E9C-0C1E-D881-628C5FEEBC6C}"/>
              </a:ext>
            </a:extLst>
          </p:cNvPr>
          <p:cNvCxnSpPr/>
          <p:nvPr userDrawn="1"/>
        </p:nvCxnSpPr>
        <p:spPr>
          <a:xfrm>
            <a:off x="3846720" y="4882950"/>
            <a:ext cx="2259601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" name="Google Shape;153;p9">
            <a:extLst>
              <a:ext uri="{FF2B5EF4-FFF2-40B4-BE49-F238E27FC236}">
                <a16:creationId xmlns:a16="http://schemas.microsoft.com/office/drawing/2014/main" id="{41759861-A416-9B6F-1109-13CDCEF6BEB6}"/>
              </a:ext>
            </a:extLst>
          </p:cNvPr>
          <p:cNvSpPr/>
          <p:nvPr userDrawn="1"/>
        </p:nvSpPr>
        <p:spPr>
          <a:xfrm>
            <a:off x="6129053" y="4599149"/>
            <a:ext cx="567601" cy="5676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6" name="Google Shape;154;p9">
            <a:extLst>
              <a:ext uri="{FF2B5EF4-FFF2-40B4-BE49-F238E27FC236}">
                <a16:creationId xmlns:a16="http://schemas.microsoft.com/office/drawing/2014/main" id="{AB75367D-8F52-5F87-D153-D8C4523DE0E8}"/>
              </a:ext>
            </a:extLst>
          </p:cNvPr>
          <p:cNvCxnSpPr/>
          <p:nvPr userDrawn="1"/>
        </p:nvCxnSpPr>
        <p:spPr>
          <a:xfrm>
            <a:off x="6696653" y="4882950"/>
            <a:ext cx="2259601" cy="1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9" name="Google Shape;157;p9">
            <a:extLst>
              <a:ext uri="{FF2B5EF4-FFF2-40B4-BE49-F238E27FC236}">
                <a16:creationId xmlns:a16="http://schemas.microsoft.com/office/drawing/2014/main" id="{AFE87B8C-FDB3-977A-B763-82CBA0C59C36}"/>
              </a:ext>
            </a:extLst>
          </p:cNvPr>
          <p:cNvSpPr/>
          <p:nvPr userDrawn="1"/>
        </p:nvSpPr>
        <p:spPr>
          <a:xfrm>
            <a:off x="8977820" y="4586049"/>
            <a:ext cx="567601" cy="567601"/>
          </a:xfrm>
          <a:prstGeom prst="ellipse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8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158;p9">
            <a:extLst>
              <a:ext uri="{FF2B5EF4-FFF2-40B4-BE49-F238E27FC236}">
                <a16:creationId xmlns:a16="http://schemas.microsoft.com/office/drawing/2014/main" id="{43A7707E-9274-8299-B730-D05097829975}"/>
              </a:ext>
            </a:extLst>
          </p:cNvPr>
          <p:cNvCxnSpPr/>
          <p:nvPr userDrawn="1"/>
        </p:nvCxnSpPr>
        <p:spPr>
          <a:xfrm>
            <a:off x="9545421" y="4869851"/>
            <a:ext cx="2722780" cy="0"/>
          </a:xfrm>
          <a:prstGeom prst="straightConnector1">
            <a:avLst/>
          </a:prstGeom>
          <a:noFill/>
          <a:ln w="76200" cap="flat" cmpd="sng">
            <a:solidFill>
              <a:srgbClr val="DDDE59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3A11FDF7-7045-4196-73F6-D6AEFE9D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</a:t>
            </a:r>
            <a:r>
              <a:rPr lang="en-GB">
                <a:sym typeface="Karla"/>
              </a:rPr>
              <a:t>Lorem ipsum </a:t>
            </a:r>
            <a:r>
              <a:rPr lang="en-GB" err="1">
                <a:sym typeface="Karla"/>
              </a:rPr>
              <a:t>dolor</a:t>
            </a:r>
            <a:r>
              <a:rPr lang="en-GB">
                <a:sym typeface="Karla"/>
              </a:rPr>
              <a:t> sit </a:t>
            </a:r>
            <a:r>
              <a:rPr lang="en-GB" err="1">
                <a:sym typeface="Karla"/>
              </a:rPr>
              <a:t>amet</a:t>
            </a:r>
            <a:endParaRPr lang="en-GB"/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E29D114F-AB9F-A9E0-FA8D-D0B966D2D3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3145" y="343697"/>
            <a:ext cx="5880100" cy="2937636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64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 sz="6400"/>
            </a:lvl2pPr>
            <a:lvl3pPr marL="1219170" indent="0">
              <a:buNone/>
              <a:defRPr sz="6400"/>
            </a:lvl3pPr>
            <a:lvl4pPr marL="1828754" indent="0">
              <a:buNone/>
              <a:defRPr sz="6400"/>
            </a:lvl4pPr>
            <a:lvl5pPr marL="2438339" indent="0">
              <a:buNone/>
              <a:defRPr sz="6400"/>
            </a:lvl5pPr>
          </a:lstStyle>
          <a:p>
            <a:pPr lvl="0"/>
            <a:r>
              <a:rPr lang="en-GB"/>
              <a:t>Lorem</a:t>
            </a:r>
          </a:p>
          <a:p>
            <a:pPr lvl="0"/>
            <a:r>
              <a:rPr lang="en-GB"/>
              <a:t>Ipsum</a:t>
            </a:r>
          </a:p>
          <a:p>
            <a:pPr lvl="0"/>
            <a:r>
              <a:rPr lang="en-GB" err="1"/>
              <a:t>Dolor</a:t>
            </a:r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B8F413B-0414-6B75-821F-97ACAE3B23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8967" y="3344305"/>
            <a:ext cx="2629012" cy="88476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buNone/>
              <a:defRPr sz="1333">
                <a:solidFill>
                  <a:schemeClr val="bg1"/>
                </a:solidFill>
              </a:defRPr>
            </a:lvl2pPr>
            <a:lvl3pPr marL="1219170" indent="0">
              <a:buNone/>
              <a:defRPr sz="1333">
                <a:solidFill>
                  <a:schemeClr val="bg1"/>
                </a:solidFill>
              </a:defRPr>
            </a:lvl3pPr>
            <a:lvl4pPr marL="1828754" indent="0">
              <a:buNone/>
              <a:defRPr sz="1333">
                <a:solidFill>
                  <a:schemeClr val="bg1"/>
                </a:solidFill>
              </a:defRPr>
            </a:lvl4pPr>
            <a:lvl5pPr marL="2438339" indent="0">
              <a:buNone/>
              <a:defRPr sz="1333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/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BB08855C-8FBE-089E-35F1-4631F787AE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56486" y="3344305"/>
            <a:ext cx="2629012" cy="88476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buNone/>
              <a:defRPr sz="1333">
                <a:solidFill>
                  <a:schemeClr val="bg1"/>
                </a:solidFill>
              </a:defRPr>
            </a:lvl2pPr>
            <a:lvl3pPr marL="1219170" indent="0">
              <a:buNone/>
              <a:defRPr sz="1333">
                <a:solidFill>
                  <a:schemeClr val="bg1"/>
                </a:solidFill>
              </a:defRPr>
            </a:lvl3pPr>
            <a:lvl4pPr marL="1828754" indent="0">
              <a:buNone/>
              <a:defRPr sz="1333">
                <a:solidFill>
                  <a:schemeClr val="bg1"/>
                </a:solidFill>
              </a:defRPr>
            </a:lvl4pPr>
            <a:lvl5pPr marL="2438339" indent="0">
              <a:buNone/>
              <a:defRPr sz="1333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478118A4-0425-9C1B-436C-B78D33056E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07133" y="3344305"/>
            <a:ext cx="2629012" cy="88476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buNone/>
              <a:defRPr sz="1333">
                <a:solidFill>
                  <a:schemeClr val="bg1"/>
                </a:solidFill>
              </a:defRPr>
            </a:lvl2pPr>
            <a:lvl3pPr marL="1219170" indent="0">
              <a:buNone/>
              <a:defRPr sz="1333">
                <a:solidFill>
                  <a:schemeClr val="bg1"/>
                </a:solidFill>
              </a:defRPr>
            </a:lvl3pPr>
            <a:lvl4pPr marL="1828754" indent="0">
              <a:buNone/>
              <a:defRPr sz="1333">
                <a:solidFill>
                  <a:schemeClr val="bg1"/>
                </a:solidFill>
              </a:defRPr>
            </a:lvl4pPr>
            <a:lvl5pPr marL="2438339" indent="0">
              <a:buNone/>
              <a:defRPr sz="1333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/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696C55C-F427-514C-F161-3B1BAC889A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55186" y="3344305"/>
            <a:ext cx="2629012" cy="884767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buNone/>
              <a:defRPr sz="1333">
                <a:solidFill>
                  <a:schemeClr val="bg1"/>
                </a:solidFill>
              </a:defRPr>
            </a:lvl2pPr>
            <a:lvl3pPr marL="1219170" indent="0">
              <a:buNone/>
              <a:defRPr sz="1333">
                <a:solidFill>
                  <a:schemeClr val="bg1"/>
                </a:solidFill>
              </a:defRPr>
            </a:lvl3pPr>
            <a:lvl4pPr marL="1828754" indent="0">
              <a:buNone/>
              <a:defRPr sz="1333">
                <a:solidFill>
                  <a:schemeClr val="bg1"/>
                </a:solidFill>
              </a:defRPr>
            </a:lvl4pPr>
            <a:lvl5pPr marL="2438339" indent="0">
              <a:buNone/>
              <a:defRPr sz="1333">
                <a:solidFill>
                  <a:schemeClr val="bg1"/>
                </a:solidFill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27B656DA-0F26-EAF2-F65F-A42148B1E3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7166" y="5637295"/>
            <a:ext cx="2194983" cy="948336"/>
          </a:xfrm>
        </p:spPr>
        <p:txBody>
          <a:bodyPr>
            <a:noAutofit/>
          </a:bodyPr>
          <a:lstStyle>
            <a:lvl1pPr marL="0" indent="0">
              <a:buNone/>
              <a:defRPr sz="5333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5333">
                <a:latin typeface="Ubuntu" panose="020B0804030602030204" pitchFamily="34" charset="0"/>
              </a:defRPr>
            </a:lvl2pPr>
            <a:lvl3pPr marL="1219170" indent="0">
              <a:buNone/>
              <a:defRPr sz="5333">
                <a:latin typeface="Ubuntu" panose="020B0804030602030204" pitchFamily="34" charset="0"/>
              </a:defRPr>
            </a:lvl3pPr>
            <a:lvl4pPr marL="1828754" indent="0">
              <a:buNone/>
              <a:defRPr sz="5333">
                <a:latin typeface="Ubuntu" panose="020B0804030602030204" pitchFamily="34" charset="0"/>
              </a:defRPr>
            </a:lvl4pPr>
            <a:lvl5pPr marL="2438339" indent="0">
              <a:buNone/>
              <a:defRPr sz="5333"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1</a:t>
            </a:r>
            <a:endParaRPr lang="en-HU"/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89BAEC9D-C35B-0142-80DD-3A1D4C52D6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72286" y="5637295"/>
            <a:ext cx="2194983" cy="948336"/>
          </a:xfrm>
        </p:spPr>
        <p:txBody>
          <a:bodyPr>
            <a:noAutofit/>
          </a:bodyPr>
          <a:lstStyle>
            <a:lvl1pPr marL="0" indent="0">
              <a:buNone/>
              <a:defRPr sz="5333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5333">
                <a:latin typeface="Ubuntu" panose="020B0804030602030204" pitchFamily="34" charset="0"/>
              </a:defRPr>
            </a:lvl2pPr>
            <a:lvl3pPr marL="1219170" indent="0">
              <a:buNone/>
              <a:defRPr sz="5333">
                <a:latin typeface="Ubuntu" panose="020B0804030602030204" pitchFamily="34" charset="0"/>
              </a:defRPr>
            </a:lvl3pPr>
            <a:lvl4pPr marL="1828754" indent="0">
              <a:buNone/>
              <a:defRPr sz="5333">
                <a:latin typeface="Ubuntu" panose="020B0804030602030204" pitchFamily="34" charset="0"/>
              </a:defRPr>
            </a:lvl4pPr>
            <a:lvl5pPr marL="2438339" indent="0">
              <a:buNone/>
              <a:defRPr sz="5333"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2</a:t>
            </a:r>
            <a:endParaRPr lang="en-HU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D49CFE33-11B8-5430-8753-6D0801CE3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27246" y="5637295"/>
            <a:ext cx="2194983" cy="948336"/>
          </a:xfrm>
        </p:spPr>
        <p:txBody>
          <a:bodyPr>
            <a:noAutofit/>
          </a:bodyPr>
          <a:lstStyle>
            <a:lvl1pPr marL="0" indent="0">
              <a:buNone/>
              <a:defRPr sz="5333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5333">
                <a:latin typeface="Ubuntu" panose="020B0804030602030204" pitchFamily="34" charset="0"/>
              </a:defRPr>
            </a:lvl2pPr>
            <a:lvl3pPr marL="1219170" indent="0">
              <a:buNone/>
              <a:defRPr sz="5333">
                <a:latin typeface="Ubuntu" panose="020B0804030602030204" pitchFamily="34" charset="0"/>
              </a:defRPr>
            </a:lvl3pPr>
            <a:lvl4pPr marL="1828754" indent="0">
              <a:buNone/>
              <a:defRPr sz="5333">
                <a:latin typeface="Ubuntu" panose="020B0804030602030204" pitchFamily="34" charset="0"/>
              </a:defRPr>
            </a:lvl4pPr>
            <a:lvl5pPr marL="2438339" indent="0">
              <a:buNone/>
              <a:defRPr sz="5333"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3</a:t>
            </a:r>
            <a:endParaRPr lang="en-HU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495F806-5A5F-DE17-DB80-0FBF58CFF0C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882206" y="5637295"/>
            <a:ext cx="2194983" cy="948336"/>
          </a:xfrm>
        </p:spPr>
        <p:txBody>
          <a:bodyPr>
            <a:noAutofit/>
          </a:bodyPr>
          <a:lstStyle>
            <a:lvl1pPr marL="0" indent="0">
              <a:buNone/>
              <a:defRPr sz="5333">
                <a:solidFill>
                  <a:schemeClr val="bg1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5333">
                <a:latin typeface="Ubuntu" panose="020B0804030602030204" pitchFamily="34" charset="0"/>
              </a:defRPr>
            </a:lvl2pPr>
            <a:lvl3pPr marL="1219170" indent="0">
              <a:buNone/>
              <a:defRPr sz="5333">
                <a:latin typeface="Ubuntu" panose="020B0804030602030204" pitchFamily="34" charset="0"/>
              </a:defRPr>
            </a:lvl3pPr>
            <a:lvl4pPr marL="1828754" indent="0">
              <a:buNone/>
              <a:defRPr sz="5333">
                <a:latin typeface="Ubuntu" panose="020B0804030602030204" pitchFamily="34" charset="0"/>
              </a:defRPr>
            </a:lvl4pPr>
            <a:lvl5pPr marL="2438339" indent="0">
              <a:buNone/>
              <a:defRPr sz="5333"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4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40893697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taff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73;p22" descr="Google Shape;173;p22">
            <a:extLst>
              <a:ext uri="{FF2B5EF4-FFF2-40B4-BE49-F238E27FC236}">
                <a16:creationId xmlns:a16="http://schemas.microsoft.com/office/drawing/2014/main" id="{E12A7342-09B7-A105-9207-D5412D7CE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2899" y="2966567"/>
            <a:ext cx="2376868" cy="1586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Google Shape;175;p22" descr="Google Shape;175;p22">
            <a:extLst>
              <a:ext uri="{FF2B5EF4-FFF2-40B4-BE49-F238E27FC236}">
                <a16:creationId xmlns:a16="http://schemas.microsoft.com/office/drawing/2014/main" id="{447B7262-473E-8A16-6CB4-C9DCC9B96F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77083" y="2966567"/>
            <a:ext cx="2376868" cy="1586501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AB67039-2518-CA26-C72C-3489B2BBDA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5" name="Text Placeholder 20">
            <a:extLst>
              <a:ext uri="{FF2B5EF4-FFF2-40B4-BE49-F238E27FC236}">
                <a16:creationId xmlns:a16="http://schemas.microsoft.com/office/drawing/2014/main" id="{D29E8713-9752-2547-1967-1E2827E01D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982065" y="376260"/>
            <a:ext cx="6587899" cy="2040280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endParaRPr lang="en-GB" sz="6400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27C83CA-EE53-90C5-8B34-ECAF4FF33A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76434" y="2967567"/>
            <a:ext cx="2377017" cy="158550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C02AC892-880A-2EE9-1508-6F2C74B037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9246" y="2967567"/>
            <a:ext cx="2377017" cy="1585501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46BD9F6-6BB1-AF58-2A13-9B251B3B0C2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50266" y="2845682"/>
            <a:ext cx="1951379" cy="931455"/>
          </a:xfrm>
        </p:spPr>
        <p:txBody>
          <a:bodyPr>
            <a:norm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  <a:defRPr lang="en-HU" sz="2667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</a:pPr>
            <a:r>
              <a:rPr lang="en-GB" sz="2667" b="1" i="0" u="none" strike="noStrike" cap="none">
                <a:solidFill>
                  <a:srgbClr val="434343"/>
                </a:solidFill>
                <a:latin typeface="Ubuntu"/>
                <a:ea typeface="Ubuntu"/>
                <a:cs typeface="Ubuntu"/>
                <a:sym typeface="Ubuntu"/>
              </a:rPr>
              <a:t>LOREM IPSUM</a:t>
            </a:r>
            <a:endParaRPr lang="en-GB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5D5E630F-82AD-26C8-A39B-98B156F4AEB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9457" y="3948285"/>
            <a:ext cx="2377017" cy="60478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err="1"/>
              <a:t>Dolor</a:t>
            </a:r>
            <a:r>
              <a:rPr lang="en-GB"/>
              <a:t> Sit,</a:t>
            </a:r>
          </a:p>
          <a:p>
            <a:pPr lvl="0"/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A638A9E9-2636-79D7-1C6B-F17BC501EA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04220" y="2845682"/>
            <a:ext cx="1951379" cy="931455"/>
          </a:xfrm>
        </p:spPr>
        <p:txBody>
          <a:bodyPr>
            <a:norm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  <a:defRPr lang="en-HU" sz="2667" b="1" i="0" u="none" strike="noStrike" cap="none" dirty="0">
                <a:solidFill>
                  <a:srgbClr val="434343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/>
            </a:lvl2pPr>
            <a:lvl3pPr marL="1219170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000"/>
              <a:buFont typeface="Ubuntu"/>
              <a:buNone/>
            </a:pPr>
            <a:r>
              <a:rPr lang="en-GB" sz="2667" b="1" i="0" u="none" strike="noStrike" cap="none">
                <a:solidFill>
                  <a:srgbClr val="434343"/>
                </a:solidFill>
                <a:latin typeface="Ubuntu"/>
                <a:ea typeface="Ubuntu"/>
                <a:cs typeface="Ubuntu"/>
                <a:sym typeface="Ubuntu"/>
              </a:rPr>
              <a:t>LOREM IPSUM</a:t>
            </a:r>
            <a:endParaRPr lang="en-GB"/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666C282C-1F08-E4E4-2F24-37933B70048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04221" y="3948285"/>
            <a:ext cx="2377017" cy="60478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1867" b="1">
                <a:solidFill>
                  <a:srgbClr val="C9A783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 err="1"/>
              <a:t>Dolor</a:t>
            </a:r>
            <a:r>
              <a:rPr lang="en-GB"/>
              <a:t> Sit,</a:t>
            </a:r>
          </a:p>
          <a:p>
            <a:pPr lvl="0"/>
            <a:r>
              <a:rPr lang="en-GB" err="1"/>
              <a:t>Amet</a:t>
            </a:r>
            <a:r>
              <a:rPr lang="en-GB"/>
              <a:t> </a:t>
            </a:r>
            <a:r>
              <a:rPr lang="en-GB" err="1"/>
              <a:t>Consectetur</a:t>
            </a:r>
            <a:endParaRPr lang="en-GB"/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BDD9CD14-35A6-708C-0C2F-5C89A9CC113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01382" y="4731843"/>
            <a:ext cx="3280183" cy="1284883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/>
            </a:lvl2pPr>
            <a:lvl3pPr marL="1219170" indent="0">
              <a:buNone/>
              <a:defRPr sz="1333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CC836E37-EED8-CC87-D347-FAEAC29B694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04220" y="4731843"/>
            <a:ext cx="3241696" cy="1284883"/>
          </a:xfrm>
        </p:spPr>
        <p:txBody>
          <a:bodyPr>
            <a:noAutofit/>
          </a:bodyPr>
          <a:lstStyle>
            <a:lvl1pPr marL="0" marR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buNone/>
              <a:defRPr sz="1333"/>
            </a:lvl2pPr>
            <a:lvl3pPr marL="1219170" indent="0">
              <a:buNone/>
              <a:defRPr sz="1333"/>
            </a:lvl3pPr>
            <a:lvl4pPr marL="1828754" indent="0">
              <a:buNone/>
              <a:defRPr sz="1333"/>
            </a:lvl4pPr>
            <a:lvl5pPr marL="2438339" indent="0">
              <a:buNone/>
              <a:defRPr sz="1333"/>
            </a:lvl5pPr>
          </a:lstStyle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. U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ni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ad mini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veniam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29347D3-32AF-850A-A589-9447DC768EF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49077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571599" cy="68580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41" y="5877773"/>
            <a:ext cx="4021667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6799" y="5877773"/>
            <a:ext cx="1832472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920343" y="375969"/>
            <a:ext cx="3328100" cy="112737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1453" y="1632879"/>
            <a:ext cx="5961015" cy="4084241"/>
          </a:xfrm>
        </p:spPr>
        <p:txBody>
          <a:bodyPr>
            <a:noAutofit/>
          </a:bodyPr>
          <a:lstStyle>
            <a:lvl1pPr marL="0" indent="0">
              <a:lnSpc>
                <a:spcPts val="9600"/>
              </a:lnSpc>
              <a:spcBef>
                <a:spcPts val="0"/>
              </a:spcBef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36502851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78;p11">
            <a:extLst>
              <a:ext uri="{FF2B5EF4-FFF2-40B4-BE49-F238E27FC236}">
                <a16:creationId xmlns:a16="http://schemas.microsoft.com/office/drawing/2014/main" id="{66948B3D-BC94-B1AD-D700-22DABB1F9576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 l="15423"/>
          <a:stretch/>
        </p:blipFill>
        <p:spPr>
          <a:xfrm>
            <a:off x="0" y="1"/>
            <a:ext cx="10552597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36799" y="5878044"/>
            <a:ext cx="2857500" cy="65828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/>
              <a:t>2022</a:t>
            </a:r>
            <a:br>
              <a:rPr lang="en-GB"/>
            </a:br>
            <a:r>
              <a:rPr lang="en-GB"/>
              <a:t>CLICK TO EDIT</a:t>
            </a:r>
            <a:endParaRPr lang="en-HU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11" y="5878044"/>
            <a:ext cx="2857500" cy="658283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6021" y="2541926"/>
            <a:ext cx="4015028" cy="20849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64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 sz="6400"/>
            </a:lvl2pPr>
            <a:lvl3pPr marL="1219170" indent="0">
              <a:buNone/>
              <a:defRPr sz="6400"/>
            </a:lvl3pPr>
            <a:lvl4pPr marL="1828754" indent="0">
              <a:buNone/>
              <a:defRPr sz="6400"/>
            </a:lvl4pPr>
            <a:lvl5pPr marL="2438339" indent="0">
              <a:buNone/>
              <a:defRPr sz="6400"/>
            </a:lvl5pPr>
          </a:lstStyle>
          <a:p>
            <a:pPr lvl="0"/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145924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0D5EC163-D91F-8542-B025-DE84F64C5A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92924" y="-107107"/>
            <a:ext cx="12629085" cy="7103860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36799" y="5878044"/>
            <a:ext cx="2857500" cy="65828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/>
              <a:t>2022</a:t>
            </a:r>
            <a:br>
              <a:rPr lang="en-GB"/>
            </a:br>
            <a:r>
              <a:rPr lang="en-GB"/>
              <a:t>CLICK TO EDIT</a:t>
            </a:r>
            <a:endParaRPr lang="en-HU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11" y="5878044"/>
            <a:ext cx="2857500" cy="658283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6021" y="2541926"/>
            <a:ext cx="4015028" cy="20849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64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 sz="6400"/>
            </a:lvl2pPr>
            <a:lvl3pPr marL="1219170" indent="0">
              <a:buNone/>
              <a:defRPr sz="6400"/>
            </a:lvl3pPr>
            <a:lvl4pPr marL="1828754" indent="0">
              <a:buNone/>
              <a:defRPr sz="6400"/>
            </a:lvl4pPr>
            <a:lvl5pPr marL="2438339" indent="0">
              <a:buNone/>
              <a:defRPr sz="6400"/>
            </a:lvl5pPr>
          </a:lstStyle>
          <a:p>
            <a:pPr lvl="0"/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5992363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3225800"/>
            <a:ext cx="12192000" cy="3632200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95"/>
            <a:endParaRPr lang="en-US" sz="2399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4987990"/>
            <a:ext cx="10363200" cy="610820"/>
          </a:xfrm>
        </p:spPr>
        <p:txBody>
          <a:bodyPr/>
          <a:lstStyle>
            <a:lvl1pPr algn="ctr">
              <a:defRPr lang="en-US" sz="3999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50936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399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8168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0839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3421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3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1pPr>
            <a:lvl2pPr marL="609422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4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267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689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11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534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5955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37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6270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0676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4557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2406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4490083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571599" cy="68580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41" y="5877773"/>
            <a:ext cx="4021667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6799" y="5877773"/>
            <a:ext cx="1832472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926580" y="412402"/>
            <a:ext cx="4044669" cy="1051117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1453" y="1632879"/>
            <a:ext cx="5961015" cy="4084241"/>
          </a:xfrm>
        </p:spPr>
        <p:txBody>
          <a:bodyPr>
            <a:noAutofit/>
          </a:bodyPr>
          <a:lstStyle>
            <a:lvl1pPr marL="0" indent="0">
              <a:lnSpc>
                <a:spcPts val="9600"/>
              </a:lnSpc>
              <a:spcBef>
                <a:spcPts val="0"/>
              </a:spcBef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29800079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7772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3050"/>
            <a:ext cx="4011084" cy="1162051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6"/>
            </a:lvl1pPr>
            <a:lvl2pPr>
              <a:defRPr sz="3732"/>
            </a:lvl2pPr>
            <a:lvl3pPr>
              <a:defRPr sz="3199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4" y="1435103"/>
            <a:ext cx="4011084" cy="46910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8641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9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266"/>
            </a:lvl1pPr>
            <a:lvl2pPr marL="609422" indent="0">
              <a:buNone/>
              <a:defRPr sz="3732"/>
            </a:lvl2pPr>
            <a:lvl3pPr marL="1218845" indent="0">
              <a:buNone/>
              <a:defRPr sz="3199"/>
            </a:lvl3pPr>
            <a:lvl4pPr marL="1828267" indent="0">
              <a:buNone/>
              <a:defRPr sz="2666"/>
            </a:lvl4pPr>
            <a:lvl5pPr marL="2437689" indent="0">
              <a:buNone/>
              <a:defRPr sz="2666"/>
            </a:lvl5pPr>
            <a:lvl6pPr marL="3047111" indent="0">
              <a:buNone/>
              <a:defRPr sz="2666"/>
            </a:lvl6pPr>
            <a:lvl7pPr marL="3656534" indent="0">
              <a:buNone/>
              <a:defRPr sz="2666"/>
            </a:lvl7pPr>
            <a:lvl8pPr marL="4265955" indent="0">
              <a:buNone/>
              <a:defRPr sz="2666"/>
            </a:lvl8pPr>
            <a:lvl9pPr marL="4875378" indent="0">
              <a:buNone/>
              <a:defRPr sz="2666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40"/>
            <a:ext cx="7315200" cy="8048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1409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5894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933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569025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gradFill flip="none" rotWithShape="1">
          <a:gsLst>
            <a:gs pos="81000">
              <a:schemeClr val="bg1">
                <a:lumMod val="95000"/>
              </a:schemeClr>
            </a:gs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42"/>
            <a:ext cx="6705600" cy="711081"/>
          </a:xfr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4E2B0-FEF2-4C8F-90A4-46C9D72643E3}" type="datetime1">
              <a:rPr lang="en-US" smtClean="0"/>
              <a:t>3/1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lideModel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0" y="6356354"/>
            <a:ext cx="762001" cy="365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40" rIns="0" bIns="91440" numCol="1" anchor="ctr" anchorCtr="1" compatLnSpc="1">
            <a:prstTxWarp prst="textNoShape">
              <a:avLst/>
            </a:prstTxWarp>
          </a:bodyPr>
          <a:lstStyle>
            <a:lvl1pPr algn="r">
              <a:defRPr lang="en-US" sz="14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80301" y="362139"/>
            <a:ext cx="4114800" cy="533400"/>
          </a:xfrm>
        </p:spPr>
        <p:txBody>
          <a:bodyPr anchor="ctr">
            <a:noAutofit/>
          </a:bodyPr>
          <a:lstStyle>
            <a:lvl1pPr marL="0" indent="0" algn="r">
              <a:buNone/>
              <a:defRPr sz="19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Breadcrumb 1 &gt; Breadcrumb 2</a:t>
            </a:r>
            <a:endParaRPr lang="es-UY"/>
          </a:p>
        </p:txBody>
      </p:sp>
    </p:spTree>
    <p:extLst>
      <p:ext uri="{BB962C8B-B14F-4D97-AF65-F5344CB8AC3E}">
        <p14:creationId xmlns:p14="http://schemas.microsoft.com/office/powerpoint/2010/main" val="25544896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Left Clipart Right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84391" y="1066800"/>
            <a:ext cx="4192092" cy="762000"/>
          </a:xfrm>
        </p:spPr>
        <p:txBody>
          <a:bodyPr>
            <a:noAutofit/>
          </a:bodyPr>
          <a:lstStyle>
            <a:lvl1pPr>
              <a:defRPr sz="3999" b="1"/>
            </a:lvl1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684391" y="2057400"/>
            <a:ext cx="4192092" cy="381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40791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18672" y="2870634"/>
            <a:ext cx="5932223" cy="711081"/>
          </a:xfr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srgbClr val="080808">
                    <a:tint val="75000"/>
                  </a:srgbClr>
                </a:solidFill>
              </a:rPr>
              <a:pPr/>
              <a:t>3/1/2024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srgbClr val="08080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8141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person&#10;&#10;Description automatically generated">
            <a:extLst>
              <a:ext uri="{FF2B5EF4-FFF2-40B4-BE49-F238E27FC236}">
                <a16:creationId xmlns:a16="http://schemas.microsoft.com/office/drawing/2014/main" id="{40058B62-A84B-3D93-B338-4136E72018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4571599" cy="6858000"/>
          </a:xfrm>
          <a:prstGeom prst="rect">
            <a:avLst/>
          </a:prstGeom>
        </p:spPr>
      </p:pic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1021919-8D1E-BBAC-5911-48BBD3237E0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41" y="5877773"/>
            <a:ext cx="4021667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rgbClr val="434343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517CA567-0F93-54C6-95F6-31F4327A2D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036799" y="5877773"/>
            <a:ext cx="1832472" cy="7133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  <a:defRPr sz="1333">
                <a:solidFill>
                  <a:srgbClr val="404346"/>
                </a:solidFill>
              </a:defRPr>
            </a:lvl1pPr>
            <a:lvl2pPr marL="609585" indent="0">
              <a:lnSpc>
                <a:spcPct val="100000"/>
              </a:lnSpc>
              <a:buNone/>
              <a:defRPr sz="1333"/>
            </a:lvl2pPr>
            <a:lvl3pPr marL="1219170" indent="0">
              <a:lnSpc>
                <a:spcPct val="100000"/>
              </a:lnSpc>
              <a:buNone/>
              <a:defRPr sz="1333"/>
            </a:lvl3pPr>
            <a:lvl4pPr marL="1828754" indent="0">
              <a:lnSpc>
                <a:spcPct val="100000"/>
              </a:lnSpc>
              <a:buNone/>
              <a:defRPr sz="1333"/>
            </a:lvl4pPr>
            <a:lvl5pPr marL="2438339" indent="0">
              <a:lnSpc>
                <a:spcPct val="100000"/>
              </a:lnSpc>
              <a:buNone/>
              <a:defRPr sz="1333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2022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BUDAPEST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C2473897-BB59-83F0-3F85-C6AB2D9323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1DF35E2-2FDB-11F5-83E1-298ABAEDF6B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094879" y="546368"/>
            <a:ext cx="2967080" cy="65676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9258739-A45A-CCFD-F496-7A5DE6097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81453" y="1632879"/>
            <a:ext cx="5961015" cy="4084241"/>
          </a:xfrm>
        </p:spPr>
        <p:txBody>
          <a:bodyPr>
            <a:noAutofit/>
          </a:bodyPr>
          <a:lstStyle>
            <a:lvl1pPr marL="0" indent="0">
              <a:lnSpc>
                <a:spcPts val="9600"/>
              </a:lnSpc>
              <a:spcBef>
                <a:spcPts val="0"/>
              </a:spcBef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1pPr>
            <a:lvl2pPr marL="609585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2pPr>
            <a:lvl3pPr marL="1219170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3pPr>
            <a:lvl4pPr marL="1828754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4pPr>
            <a:lvl5pPr marL="2438339" indent="0">
              <a:buNone/>
              <a:defRPr sz="9600" b="1">
                <a:solidFill>
                  <a:srgbClr val="404346"/>
                </a:solidFill>
                <a:latin typeface="Ubuntu" panose="020B0804030602030204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7828247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-1"/>
            <a:ext cx="4572000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</a:t>
            </a:r>
            <a:r>
              <a:rPr lang="en-GB">
                <a:sym typeface="Karla"/>
              </a:rPr>
              <a:t>Lorem ipsum </a:t>
            </a:r>
            <a:r>
              <a:rPr lang="en-GB" err="1">
                <a:sym typeface="Karla"/>
              </a:rPr>
              <a:t>dolor</a:t>
            </a:r>
            <a:r>
              <a:rPr lang="en-GB">
                <a:sym typeface="Karla"/>
              </a:rPr>
              <a:t> sit </a:t>
            </a:r>
            <a:r>
              <a:rPr lang="en-GB" err="1">
                <a:sym typeface="Karla"/>
              </a:rPr>
              <a:t>amet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885" y="3487176"/>
            <a:ext cx="6587899" cy="318192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6400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84701" y="0"/>
            <a:ext cx="45593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71B51FD-5F36-36F3-75FE-2FD740A345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93451" y="231567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4517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5E7337B6-3525-F177-A09A-F12F47F943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665" y="393582"/>
            <a:ext cx="10515600" cy="1325033"/>
          </a:xfrm>
        </p:spPr>
        <p:txBody>
          <a:bodyPr>
            <a:noAutofit/>
          </a:bodyPr>
          <a:lstStyle>
            <a:lvl1pPr>
              <a:defRPr sz="6400" b="1"/>
            </a:lvl1pPr>
          </a:lstStyle>
          <a:p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HU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A852008-588E-6715-2A09-AD0FC0AE96EA}"/>
              </a:ext>
            </a:extLst>
          </p:cNvPr>
          <p:cNvSpPr txBox="1">
            <a:spLocks/>
          </p:cNvSpPr>
          <p:nvPr userDrawn="1"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HU" sz="1000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DCEA9A6-CB0C-B044-A678-37DF3C0EF6F8}" type="slidenum">
              <a:rPr lang="en-GB" sz="1333" smtClean="0">
                <a:solidFill>
                  <a:srgbClr val="404346"/>
                </a:solidFill>
              </a:rPr>
              <a:pPr/>
              <a:t>‹#›</a:t>
            </a:fld>
            <a:r>
              <a:rPr lang="en-GB" sz="1333">
                <a:solidFill>
                  <a:srgbClr val="404346"/>
                </a:solidFill>
              </a:rPr>
              <a:t> </a:t>
            </a:r>
            <a:r>
              <a:rPr lang="en-GB" sz="1333">
                <a:solidFill>
                  <a:srgbClr val="DDDE59"/>
                </a:solidFill>
                <a:sym typeface="Karla"/>
              </a:rPr>
              <a:t>|</a:t>
            </a:r>
            <a:r>
              <a:rPr lang="en-GB" sz="1333">
                <a:solidFill>
                  <a:srgbClr val="404346"/>
                </a:solidFill>
                <a:sym typeface="Karla"/>
              </a:rPr>
              <a:t> </a:t>
            </a:r>
            <a:endParaRPr lang="en-GB" sz="1333">
              <a:solidFill>
                <a:srgbClr val="404346"/>
              </a:solidFill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02163B1-48BC-AD30-D44F-885C7E57C0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665" y="2072253"/>
            <a:ext cx="10515600" cy="430860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67">
                <a:solidFill>
                  <a:srgbClr val="404346"/>
                </a:solidFill>
              </a:defRPr>
            </a:lvl1pPr>
            <a:lvl2pPr marL="609585" indent="0">
              <a:buNone/>
              <a:defRPr>
                <a:solidFill>
                  <a:srgbClr val="404346"/>
                </a:solidFill>
              </a:defRPr>
            </a:lvl2pPr>
            <a:lvl3pPr marL="1219170" indent="0">
              <a:buNone/>
              <a:defRPr>
                <a:solidFill>
                  <a:srgbClr val="404346"/>
                </a:solidFill>
              </a:defRPr>
            </a:lvl3pPr>
            <a:lvl4pPr marL="1828754" indent="0">
              <a:buNone/>
              <a:defRPr>
                <a:solidFill>
                  <a:srgbClr val="404346"/>
                </a:solidFill>
              </a:defRPr>
            </a:lvl4pPr>
            <a:lvl5pPr marL="2438339" indent="0">
              <a:buNone/>
              <a:defRPr>
                <a:solidFill>
                  <a:srgbClr val="404346"/>
                </a:solidFill>
              </a:defRPr>
            </a:lvl5pPr>
          </a:lstStyle>
          <a:p>
            <a:r>
              <a:rPr lang="en-GB" sz="1867">
                <a:latin typeface="Karla" panose="020B0004030503030003" pitchFamily="34" charset="77"/>
              </a:rPr>
              <a:t>Lorem ipsum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sed</a:t>
            </a:r>
            <a:r>
              <a:rPr lang="en-GB" sz="1867">
                <a:latin typeface="Karla" panose="020B0004030503030003" pitchFamily="34" charset="77"/>
              </a:rPr>
              <a:t> do </a:t>
            </a:r>
            <a:r>
              <a:rPr lang="en-GB" sz="1867" err="1">
                <a:latin typeface="Karla" panose="020B0004030503030003" pitchFamily="34" charset="77"/>
              </a:rPr>
              <a:t>eiusmod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tempo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incididunt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ut</a:t>
            </a:r>
            <a:r>
              <a:rPr lang="en-GB" sz="1867">
                <a:latin typeface="Karla" panose="020B0004030503030003" pitchFamily="34" charset="77"/>
              </a:rPr>
              <a:t> labore et dolore magna </a:t>
            </a:r>
            <a:r>
              <a:rPr lang="en-GB" sz="1867" err="1">
                <a:latin typeface="Karla" panose="020B0004030503030003" pitchFamily="34" charset="77"/>
              </a:rPr>
              <a:t>aliqua</a:t>
            </a:r>
            <a:r>
              <a:rPr lang="en-GB" sz="1867">
                <a:latin typeface="Karla" panose="020B0004030503030003" pitchFamily="34" charset="77"/>
              </a:rPr>
              <a:t>. Lorem ipsum  </a:t>
            </a:r>
            <a:r>
              <a:rPr lang="en-GB" sz="1867" err="1">
                <a:latin typeface="Karla" panose="020B0004030503030003" pitchFamily="34" charset="77"/>
              </a:rPr>
              <a:t>dolor</a:t>
            </a:r>
            <a:r>
              <a:rPr lang="en-GB" sz="1867">
                <a:latin typeface="Karla" panose="020B0004030503030003" pitchFamily="34" charset="77"/>
              </a:rPr>
              <a:t> sit </a:t>
            </a:r>
            <a:r>
              <a:rPr lang="en-GB" sz="1867" err="1">
                <a:latin typeface="Karla" panose="020B0004030503030003" pitchFamily="34" charset="77"/>
              </a:rPr>
              <a:t>amet</a:t>
            </a:r>
            <a:r>
              <a:rPr lang="en-GB" sz="1867">
                <a:latin typeface="Karla" panose="020B0004030503030003" pitchFamily="34" charset="77"/>
              </a:rPr>
              <a:t>, </a:t>
            </a:r>
            <a:r>
              <a:rPr lang="en-GB" sz="1867" err="1">
                <a:latin typeface="Karla" panose="020B0004030503030003" pitchFamily="34" charset="77"/>
              </a:rPr>
              <a:t>consectetur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adipiscing</a:t>
            </a:r>
            <a:r>
              <a:rPr lang="en-GB" sz="1867">
                <a:latin typeface="Karla" panose="020B0004030503030003" pitchFamily="34" charset="77"/>
              </a:rPr>
              <a:t> </a:t>
            </a:r>
            <a:r>
              <a:rPr lang="en-GB" sz="1867" err="1">
                <a:latin typeface="Karla" panose="020B0004030503030003" pitchFamily="34" charset="77"/>
              </a:rPr>
              <a:t>elit</a:t>
            </a:r>
            <a:r>
              <a:rPr lang="en-GB" sz="1867">
                <a:latin typeface="Karla" panose="020B0004030503030003" pitchFamily="34" charset="77"/>
              </a:rPr>
              <a:t>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217F59-A1FC-7FF1-11FA-72B60F3AD5A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66385" y="208778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2407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0D5EC163-D91F-8542-B025-DE84F64C5AF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3192924" y="-107107"/>
            <a:ext cx="12629085" cy="7103860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160F4991-C162-3CEC-7F81-375E7681A2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36799" y="5878044"/>
            <a:ext cx="2857500" cy="65828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lvl="0"/>
            <a:r>
              <a:rPr lang="en-GB"/>
              <a:t>2022</a:t>
            </a:r>
            <a:br>
              <a:rPr lang="en-GB"/>
            </a:br>
            <a:r>
              <a:rPr lang="en-GB"/>
              <a:t>CLICK TO EDIT</a:t>
            </a:r>
            <a:endParaRPr lang="en-HU"/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A5BFAEC8-DDCA-EB99-DFA1-8C412D0EC0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56011" y="5878044"/>
            <a:ext cx="2857500" cy="658283"/>
          </a:xfrm>
        </p:spPr>
        <p:txBody>
          <a:bodyPr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  <a:defRPr sz="1333">
                <a:solidFill>
                  <a:schemeClr val="bg1"/>
                </a:solidFill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Karla"/>
              <a:buNone/>
            </a:pP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,</a:t>
            </a:r>
            <a:b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</a:b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333" b="0" i="0" u="none" strike="noStrike" cap="none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333" b="0" i="0" u="none" strike="noStrike" cap="none" err="1">
                <a:solidFill>
                  <a:schemeClr val="lt1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endParaRPr lang="en-GB" sz="1333" b="0" i="0" u="none" strike="noStrike" cap="none">
              <a:solidFill>
                <a:schemeClr val="lt1"/>
              </a:solidFill>
              <a:latin typeface="Karla"/>
              <a:ea typeface="Karla"/>
              <a:cs typeface="Karla"/>
              <a:sym typeface="Karla"/>
            </a:endParaRP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6280F427-D9C8-C8B7-C81C-434623BC47C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66021" y="2541926"/>
            <a:ext cx="4015028" cy="20849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64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 sz="6400"/>
            </a:lvl2pPr>
            <a:lvl3pPr marL="1219170" indent="0">
              <a:buNone/>
              <a:defRPr sz="6400"/>
            </a:lvl3pPr>
            <a:lvl4pPr marL="1828754" indent="0">
              <a:buNone/>
              <a:defRPr sz="6400"/>
            </a:lvl4pPr>
            <a:lvl5pPr marL="2438339" indent="0">
              <a:buNone/>
              <a:defRPr sz="6400"/>
            </a:lvl5pPr>
          </a:lstStyle>
          <a:p>
            <a:pPr lvl="0"/>
            <a:r>
              <a:rPr lang="en-GB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40959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-1"/>
            <a:ext cx="4572000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</a:t>
            </a:r>
            <a:r>
              <a:rPr lang="en-GB">
                <a:sym typeface="Karla"/>
              </a:rPr>
              <a:t>Lorem ipsum </a:t>
            </a:r>
            <a:r>
              <a:rPr lang="en-GB" err="1">
                <a:sym typeface="Karla"/>
              </a:rPr>
              <a:t>dolor</a:t>
            </a:r>
            <a:r>
              <a:rPr lang="en-GB">
                <a:sym typeface="Karla"/>
              </a:rPr>
              <a:t> sit </a:t>
            </a:r>
            <a:r>
              <a:rPr lang="en-GB" err="1">
                <a:sym typeface="Karla"/>
              </a:rPr>
              <a:t>amet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885" y="3487176"/>
            <a:ext cx="6587899" cy="318192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6400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84701" y="0"/>
            <a:ext cx="45593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6DEF05-FD33-4ED1-8711-605CB720E91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19591" y="130621"/>
            <a:ext cx="1825312" cy="61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9631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1">
    <p:bg>
      <p:bgPr>
        <a:solidFill>
          <a:srgbClr val="C9A7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floor, indoor, person&#10;&#10;Description automatically generated">
            <a:extLst>
              <a:ext uri="{FF2B5EF4-FFF2-40B4-BE49-F238E27FC236}">
                <a16:creationId xmlns:a16="http://schemas.microsoft.com/office/drawing/2014/main" id="{B56F7956-C838-93FA-37A1-0EC0C8F508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-1"/>
            <a:ext cx="4572000" cy="685800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2D91ED9-AFCF-6C31-EF80-D8DB6C528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</a:t>
            </a:r>
            <a:r>
              <a:rPr lang="en-GB">
                <a:sym typeface="Karla"/>
              </a:rPr>
              <a:t>Lorem ipsum </a:t>
            </a:r>
            <a:r>
              <a:rPr lang="en-GB" err="1">
                <a:sym typeface="Karla"/>
              </a:rPr>
              <a:t>dolor</a:t>
            </a:r>
            <a:r>
              <a:rPr lang="en-GB">
                <a:sym typeface="Karla"/>
              </a:rPr>
              <a:t> sit </a:t>
            </a:r>
            <a:r>
              <a:rPr lang="en-GB" err="1">
                <a:sym typeface="Karla"/>
              </a:rPr>
              <a:t>amet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AB2383F-5514-F2BD-51B7-08657EF221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885" y="3487176"/>
            <a:ext cx="6587899" cy="3181921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>
                <a:solidFill>
                  <a:srgbClr val="404346"/>
                </a:solidFill>
                <a:latin typeface="Ubuntu" panose="020B0804030602030204" pitchFamily="34" charset="0"/>
              </a:defRPr>
            </a:lvl1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</a:pP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Consectetur</a:t>
            </a:r>
            <a: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</a:t>
            </a: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adipiscing</a:t>
            </a:r>
            <a:br>
              <a:rPr lang="en-GB" sz="64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</a:br>
            <a:r>
              <a:rPr lang="en-GB" sz="64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elit</a:t>
            </a:r>
            <a:endParaRPr lang="en-GB" sz="6400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F2664B8A-3BDD-9AF6-9DC1-7EFC6B18A9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84701" y="0"/>
            <a:ext cx="45593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BC275A-A760-480B-9B70-89727F9FB86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28299" y="148036"/>
            <a:ext cx="2216432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837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4043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person, ground, outdoor&#10;&#10;Description automatically generated">
            <a:extLst>
              <a:ext uri="{FF2B5EF4-FFF2-40B4-BE49-F238E27FC236}">
                <a16:creationId xmlns:a16="http://schemas.microsoft.com/office/drawing/2014/main" id="{EA474748-D235-4B92-03DA-A6592AC760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281" y="0"/>
            <a:ext cx="4571528" cy="6858000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63933A3F-5FC7-9B30-D860-1C6B8BE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/>
              <a:pPr/>
              <a:t>‹#›</a:t>
            </a:fld>
            <a:r>
              <a:rPr lang="en-GB"/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</a:t>
            </a:r>
            <a:r>
              <a:rPr lang="en-GB">
                <a:sym typeface="Karla"/>
              </a:rPr>
              <a:t>Lorem ipsum </a:t>
            </a:r>
            <a:r>
              <a:rPr lang="en-GB" err="1">
                <a:sym typeface="Karla"/>
              </a:rPr>
              <a:t>dolor</a:t>
            </a:r>
            <a:r>
              <a:rPr lang="en-GB">
                <a:sym typeface="Karla"/>
              </a:rPr>
              <a:t> sit </a:t>
            </a:r>
            <a:r>
              <a:rPr lang="en-GB" err="1">
                <a:sym typeface="Karla"/>
              </a:rPr>
              <a:t>amet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A7D7BC5E-22ED-8A5F-8627-FB0E6B4FA2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75267" y="0"/>
            <a:ext cx="4571528" cy="6858000"/>
          </a:xfrm>
        </p:spPr>
        <p:txBody>
          <a:bodyPr/>
          <a:lstStyle/>
          <a:p>
            <a:endParaRPr lang="en-HU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5161CB6-C2DD-84BD-C6C4-BA582654AD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2406205"/>
            <a:ext cx="5880100" cy="20849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6400" b="1" i="0" u="none" strike="noStrike" cap="none" dirty="0" smtClean="0">
                <a:solidFill>
                  <a:schemeClr val="bg1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buNone/>
              <a:defRPr sz="6400"/>
            </a:lvl2pPr>
            <a:lvl3pPr marL="1219170" indent="0">
              <a:buNone/>
              <a:defRPr sz="6400"/>
            </a:lvl3pPr>
            <a:lvl4pPr marL="1828754" indent="0">
              <a:buNone/>
              <a:defRPr sz="6400"/>
            </a:lvl4pPr>
            <a:lvl5pPr marL="2438339" indent="0">
              <a:buNone/>
              <a:defRPr sz="6400"/>
            </a:lvl5pPr>
          </a:lstStyle>
          <a:p>
            <a:pPr lvl="0"/>
            <a:r>
              <a:rPr lang="en-GB"/>
              <a:t>Duis </a:t>
            </a:r>
            <a:r>
              <a:rPr lang="en-GB" err="1"/>
              <a:t>aute</a:t>
            </a:r>
            <a:endParaRPr lang="en-GB"/>
          </a:p>
          <a:p>
            <a:pPr lvl="0"/>
            <a:r>
              <a:rPr lang="en-GB" err="1"/>
              <a:t>irure</a:t>
            </a:r>
            <a:endParaRPr lang="en-GB"/>
          </a:p>
          <a:p>
            <a:pPr lvl="0"/>
            <a:r>
              <a:rPr lang="en-GB" err="1"/>
              <a:t>dolor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291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72" y="0"/>
            <a:ext cx="4572000" cy="68580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29217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979" y="583645"/>
            <a:ext cx="6546851" cy="43660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96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1673" y="4815027"/>
            <a:ext cx="3994151" cy="116416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609585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1219170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2DAF56-721B-4CA9-80B6-F9BF47B1563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093451" y="231567"/>
            <a:ext cx="1654303" cy="366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149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with text Layout">
    <p:bg>
      <p:bgPr>
        <a:solidFill>
          <a:srgbClr val="DDDE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wall, person&#10;&#10;Description automatically generated">
            <a:extLst>
              <a:ext uri="{FF2B5EF4-FFF2-40B4-BE49-F238E27FC236}">
                <a16:creationId xmlns:a16="http://schemas.microsoft.com/office/drawing/2014/main" id="{1CF6BCC1-1943-2856-64D6-D483C104BC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872" y="0"/>
            <a:ext cx="4572000" cy="6858000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0FA33E11-E38A-CF29-F1C3-A8618716FB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29217" y="0"/>
            <a:ext cx="457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HU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6D20C3B-70CD-F16C-3A63-6F8CA130B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06883" y="311330"/>
            <a:ext cx="2743200" cy="366183"/>
          </a:xfrm>
        </p:spPr>
        <p:txBody>
          <a:bodyPr/>
          <a:lstStyle>
            <a:lvl1pPr algn="l">
              <a:defRPr lang="en-HU" sz="1333" b="0" i="0" u="none" strike="noStrike" cap="none" smtClean="0">
                <a:solidFill>
                  <a:schemeClr val="lt1"/>
                </a:solidFill>
                <a:latin typeface="Karla"/>
                <a:ea typeface="Karla"/>
                <a:cs typeface="Karla"/>
                <a:sym typeface="Arial"/>
              </a:defRPr>
            </a:lvl1pPr>
          </a:lstStyle>
          <a:p>
            <a:fld id="{8DCEA9A6-CB0C-B044-A678-37DF3C0EF6F8}" type="slidenum">
              <a:rPr lang="en-GB" smtClean="0">
                <a:solidFill>
                  <a:srgbClr val="404346"/>
                </a:solidFill>
              </a:rPr>
              <a:pPr/>
              <a:t>‹#›</a:t>
            </a:fld>
            <a:r>
              <a:rPr lang="en-GB">
                <a:solidFill>
                  <a:srgbClr val="404346"/>
                </a:solidFill>
              </a:rPr>
              <a:t> </a:t>
            </a:r>
            <a:r>
              <a:rPr lang="en-GB">
                <a:solidFill>
                  <a:srgbClr val="DDDE59"/>
                </a:solidFill>
                <a:sym typeface="Karla"/>
              </a:rPr>
              <a:t>|</a:t>
            </a:r>
            <a:r>
              <a:rPr lang="en-GB">
                <a:solidFill>
                  <a:srgbClr val="404346"/>
                </a:solidFill>
                <a:sym typeface="Karla"/>
              </a:rPr>
              <a:t> Lorem ipsum </a:t>
            </a:r>
            <a:r>
              <a:rPr lang="en-GB" err="1">
                <a:solidFill>
                  <a:srgbClr val="404346"/>
                </a:solidFill>
                <a:sym typeface="Karla"/>
              </a:rPr>
              <a:t>dolor</a:t>
            </a:r>
            <a:r>
              <a:rPr lang="en-GB">
                <a:solidFill>
                  <a:srgbClr val="404346"/>
                </a:solidFill>
                <a:sym typeface="Karla"/>
              </a:rPr>
              <a:t> sit </a:t>
            </a:r>
            <a:r>
              <a:rPr lang="en-GB" err="1">
                <a:solidFill>
                  <a:srgbClr val="404346"/>
                </a:solidFill>
                <a:sym typeface="Karla"/>
              </a:rPr>
              <a:t>amet</a:t>
            </a:r>
            <a:endParaRPr lang="en-GB">
              <a:solidFill>
                <a:srgbClr val="404346"/>
              </a:solidFill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4409CBC5-5304-E8B7-EDD4-42996E76DE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81979" y="583645"/>
            <a:ext cx="6546851" cy="4366016"/>
          </a:xfr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  <a:defRPr lang="en-GB" sz="9600" b="1" i="0" u="none" strike="noStrike" cap="none" dirty="0">
                <a:solidFill>
                  <a:srgbClr val="404346"/>
                </a:solidFill>
                <a:latin typeface="Ubuntu"/>
                <a:ea typeface="Ubuntu"/>
                <a:cs typeface="Ubuntu"/>
                <a:sym typeface="Arial"/>
              </a:defRPr>
            </a:lvl1pPr>
            <a:lvl2pPr marL="609585" indent="0">
              <a:lnSpc>
                <a:spcPct val="100000"/>
              </a:lnSpc>
              <a:buNone/>
              <a:defRPr/>
            </a:lvl2pPr>
            <a:lvl3pPr marL="1219170" indent="0">
              <a:lnSpc>
                <a:spcPct val="100000"/>
              </a:lnSpc>
              <a:buNone/>
              <a:defRPr/>
            </a:lvl3pPr>
            <a:lvl4pPr marL="1828754" indent="0">
              <a:lnSpc>
                <a:spcPct val="100000"/>
              </a:lnSpc>
              <a:buNone/>
              <a:defRPr/>
            </a:lvl4pPr>
            <a:lvl5pPr marL="2438339" indent="0">
              <a:lnSpc>
                <a:spcPct val="100000"/>
              </a:lnSpc>
              <a:buNone/>
              <a:defRPr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Lore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Ipsum</a:t>
            </a:r>
            <a:endParaRPr lang="en-GB" sz="1867" b="1" i="0" u="none" strike="noStrike" cap="none">
              <a:solidFill>
                <a:srgbClr val="404346"/>
              </a:solidFill>
              <a:latin typeface="Ubuntu"/>
              <a:ea typeface="Ubuntu"/>
              <a:cs typeface="Ubuntu"/>
              <a:sym typeface="Ubuntu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7200"/>
              <a:buFont typeface="Ubuntu"/>
              <a:buNone/>
            </a:pPr>
            <a:r>
              <a:rPr lang="en-GB" sz="9600" b="1" i="0" u="none" strike="noStrike" cap="none" err="1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Dolor</a:t>
            </a:r>
            <a:r>
              <a:rPr lang="en-GB" sz="9600" b="1" i="0" u="none" strike="noStrike" cap="none">
                <a:solidFill>
                  <a:srgbClr val="404346"/>
                </a:solidFill>
                <a:latin typeface="Ubuntu"/>
                <a:ea typeface="Ubuntu"/>
                <a:cs typeface="Ubuntu"/>
                <a:sym typeface="Ubuntu"/>
              </a:rPr>
              <a:t> Sit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9BD9F8F-46F3-B97E-E4FD-4C3B180F21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71673" y="4815027"/>
            <a:ext cx="3994151" cy="116416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1pPr>
            <a:lvl2pPr marL="609585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2pPr>
            <a:lvl3pPr marL="1219170" indent="0">
              <a:buNone/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3pPr>
            <a:lvl4pPr>
              <a:defRPr lang="en-GB" sz="1867" b="0" i="0" u="none" strike="noStrike" cap="none" dirty="0" smtClean="0">
                <a:solidFill>
                  <a:srgbClr val="434343"/>
                </a:solidFill>
                <a:latin typeface="Karla"/>
                <a:ea typeface="Karla"/>
                <a:cs typeface="Karla"/>
                <a:sym typeface="Arial"/>
              </a:defRPr>
            </a:lvl4pPr>
          </a:lstStyle>
          <a:p>
            <a:pPr lvl="0"/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Lorem ipsum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dol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sit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me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consectetu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dipiscing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li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,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se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do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eiusmod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tempor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incididun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ut</a:t>
            </a:r>
            <a:r>
              <a:rPr lang="en-GB" sz="1867" b="0" i="0" u="none" strike="noStrike" cap="none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 labore et dolore magna </a:t>
            </a:r>
            <a:r>
              <a:rPr lang="en-GB" sz="1867" b="0" i="0" u="none" strike="noStrike" cap="none" err="1">
                <a:solidFill>
                  <a:srgbClr val="434343"/>
                </a:solidFill>
                <a:latin typeface="Karla"/>
                <a:ea typeface="Karla"/>
                <a:cs typeface="Karla"/>
                <a:sym typeface="Karla"/>
              </a:rPr>
              <a:t>aliqua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6D2CAA1-18DB-42DD-827C-F74E40AA9EA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19591" y="130621"/>
            <a:ext cx="1825312" cy="618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3441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00457CB-E3C3-4B0C-815C-F71B8A980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75714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84" imgH="384" progId="TCLayout.ActiveDocument.1">
                  <p:embed/>
                </p:oleObj>
              </mc:Choice>
              <mc:Fallback>
                <p:oleObj name="think-cell Slide" r:id="rId24" imgW="384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00457CB-E3C3-4B0C-815C-F71B8A980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3AD875-CAA7-32A3-9EC3-797845180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069B3-702F-C965-B057-AF5931596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29DEA-CF1C-7C70-0A5F-214CFE0A2F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22E6D3-8477-3D45-963C-3CE2F44ABFD4}" type="datetime1">
              <a:rPr lang="hu-HU" smtClean="0"/>
              <a:t>2024. 03. 01.</a:t>
            </a:fld>
            <a:endParaRPr lang="en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5DC86-8E28-6247-154E-479CE5805C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6ADE2-2407-0A1B-0952-A26CFA0D1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CFCE3-BA2C-AE41-A04E-CC544A8D6EDF}" type="slidenum">
              <a:rPr lang="en-HU" smtClean="0"/>
              <a:t>‹#›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1124355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rgbClr val="404346"/>
          </a:solidFill>
          <a:latin typeface="Ubuntu" panose="020B0804030602030204" pitchFamily="34" charset="0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D2CA373-414A-43EB-861C-DB71AFA61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79829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84" imgH="384" progId="TCLayout.ActiveDocument.1">
                  <p:embed/>
                </p:oleObj>
              </mc:Choice>
              <mc:Fallback>
                <p:oleObj name="think-cell Slide" r:id="rId20" imgW="384" imgH="38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D2CA373-414A-43EB-861C-DB71AFA61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1081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3/1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121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</p:sldLayoutIdLst>
  <p:txStyles>
    <p:titleStyle>
      <a:lvl1pPr algn="l" defTabSz="1218845" rtl="0" eaLnBrk="1" latinLnBrk="0" hangingPunct="1">
        <a:spcBef>
          <a:spcPct val="0"/>
        </a:spcBef>
        <a:buNone/>
        <a:defRPr sz="3199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067" indent="-457067" algn="l" defTabSz="1218845" rtl="0" eaLnBrk="1" latinLnBrk="0" hangingPunct="1">
        <a:spcBef>
          <a:spcPct val="20000"/>
        </a:spcBef>
        <a:buFont typeface="Arial" pitchFamily="34" charset="0"/>
        <a:buChar char="•"/>
        <a:defRPr sz="3599" kern="1200">
          <a:solidFill>
            <a:schemeClr val="tx1"/>
          </a:solidFill>
          <a:latin typeface="+mj-lt"/>
          <a:ea typeface="+mn-ea"/>
          <a:cs typeface="+mn-cs"/>
        </a:defRPr>
      </a:lvl1pPr>
      <a:lvl2pPr marL="990311" indent="-380889" algn="l" defTabSz="1218845" rtl="0" eaLnBrk="1" latinLnBrk="0" hangingPunct="1">
        <a:spcBef>
          <a:spcPct val="20000"/>
        </a:spcBef>
        <a:buFont typeface="Arial" pitchFamily="34" charset="0"/>
        <a:buChar char="–"/>
        <a:defRPr sz="3199" kern="1200">
          <a:solidFill>
            <a:schemeClr val="tx1"/>
          </a:solidFill>
          <a:latin typeface="+mj-lt"/>
          <a:ea typeface="+mn-ea"/>
          <a:cs typeface="+mn-cs"/>
        </a:defRPr>
      </a:lvl2pPr>
      <a:lvl3pPr marL="1523555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j-lt"/>
          <a:ea typeface="+mn-ea"/>
          <a:cs typeface="+mn-cs"/>
        </a:defRPr>
      </a:lvl3pPr>
      <a:lvl4pPr marL="2132979" indent="-304712" algn="l" defTabSz="121884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400" indent="-304712" algn="l" defTabSz="121884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1822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244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666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089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22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7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89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1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4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95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378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32AA2CBA-731A-A562-3227-7FB9CA606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70691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2AA2CBA-731A-A562-3227-7FB9CA606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03AD875-CAA7-32A3-9EC3-797845180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E069B3-702F-C965-B057-AF5931596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129DEA-CF1C-7C70-0A5F-214CFE0A2F1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22E6D3-8477-3D45-963C-3CE2F44ABFD4}" type="datetime1">
              <a:rPr lang="hu-HU" smtClean="0"/>
              <a:t>2024. 03. 01.</a:t>
            </a:fld>
            <a:endParaRPr lang="en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85DC86-8E28-6247-154E-479CE5805C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46ADE2-2407-0A1B-0952-A26CFA0D1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CFCE3-BA2C-AE41-A04E-CC544A8D6EDF}" type="slidenum">
              <a:rPr lang="en-HU" smtClean="0"/>
              <a:t>‹#›</a:t>
            </a:fld>
            <a:endParaRPr lang="en-HU"/>
          </a:p>
        </p:txBody>
      </p:sp>
    </p:spTree>
    <p:extLst>
      <p:ext uri="{BB962C8B-B14F-4D97-AF65-F5344CB8AC3E}">
        <p14:creationId xmlns:p14="http://schemas.microsoft.com/office/powerpoint/2010/main" val="558248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5867" kern="1200">
          <a:solidFill>
            <a:srgbClr val="404346"/>
          </a:solidFill>
          <a:latin typeface="Ubuntu" panose="020B0804030602030204" pitchFamily="34" charset="0"/>
          <a:ea typeface="+mj-ea"/>
          <a:cs typeface="+mj-cs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Karla" panose="020B0004030503030003" pitchFamily="34" charset="77"/>
          <a:ea typeface="+mn-ea"/>
          <a:cs typeface="+mn-cs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H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14.xml"/><Relationship Id="rId7" Type="http://schemas.openxmlformats.org/officeDocument/2006/relationships/image" Target="../media/image25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8.sv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5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6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A625CB8-A176-1025-B40A-FAC8379553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9256" y="582882"/>
            <a:ext cx="4346067" cy="3199162"/>
          </a:xfrm>
        </p:spPr>
        <p:txBody>
          <a:bodyPr/>
          <a:lstStyle/>
          <a:p>
            <a:r>
              <a:rPr lang="hu-HU" sz="3600" b="1" dirty="0"/>
              <a:t>Kötelezően  visszaváltási díjas termékek rendszere </a:t>
            </a:r>
          </a:p>
          <a:p>
            <a:r>
              <a:rPr lang="hu-HU" sz="3600" b="1" dirty="0"/>
              <a:t>(</a:t>
            </a:r>
            <a:r>
              <a:rPr lang="hu-HU" sz="3600" b="1" dirty="0" err="1"/>
              <a:t>DRS</a:t>
            </a:r>
            <a:r>
              <a:rPr lang="hu-HU" sz="3600" b="1" dirty="0" err="1">
                <a:sym typeface="Wingdings" panose="05000000000000000000" pitchFamily="2" charset="2"/>
              </a:rPr>
              <a:t>REpont</a:t>
            </a:r>
            <a:r>
              <a:rPr lang="hu-HU" sz="3600" b="1" dirty="0"/>
              <a:t>)</a:t>
            </a:r>
          </a:p>
          <a:p>
            <a:endParaRPr lang="hu-HU" sz="3600" b="1" dirty="0"/>
          </a:p>
          <a:p>
            <a:r>
              <a:rPr lang="hu-HU" sz="2400" dirty="0"/>
              <a:t> </a:t>
            </a:r>
          </a:p>
          <a:p>
            <a:endParaRPr lang="hu-HU" sz="2400" dirty="0"/>
          </a:p>
          <a:p>
            <a:endParaRPr lang="hu-HU" sz="2000" dirty="0"/>
          </a:p>
          <a:p>
            <a:r>
              <a:rPr lang="hu-HU" sz="1800" dirty="0"/>
              <a:t> </a:t>
            </a:r>
            <a:endParaRPr lang="en-HU" sz="1800" dirty="0"/>
          </a:p>
        </p:txBody>
      </p:sp>
      <p:pic>
        <p:nvPicPr>
          <p:cNvPr id="6" name="Kép helye 5">
            <a:extLst>
              <a:ext uri="{FF2B5EF4-FFF2-40B4-BE49-F238E27FC236}">
                <a16:creationId xmlns:a16="http://schemas.microsoft.com/office/drawing/2014/main" id="{053F5D39-A938-4CF8-AE40-15C3E80E305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" r="125"/>
          <a:stretch>
            <a:fillRect/>
          </a:stretch>
        </p:blipFill>
        <p:spPr/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7A545409-137A-4F22-A656-447FA192C594}"/>
              </a:ext>
            </a:extLst>
          </p:cNvPr>
          <p:cNvSpPr txBox="1">
            <a:spLocks/>
          </p:cNvSpPr>
          <p:nvPr/>
        </p:nvSpPr>
        <p:spPr>
          <a:xfrm>
            <a:off x="159256" y="4372284"/>
            <a:ext cx="4519811" cy="127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 kern="1200">
                <a:solidFill>
                  <a:srgbClr val="404346"/>
                </a:solidFill>
                <a:latin typeface="Ubuntu" panose="020B0804030602030204" pitchFamily="34" charset="0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1800" dirty="0"/>
              <a:t>Szabó Szilvia, MOHU Zr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B7138A8-8AAA-4223-BBF0-D488340E6408}"/>
              </a:ext>
            </a:extLst>
          </p:cNvPr>
          <p:cNvSpPr txBox="1">
            <a:spLocks/>
          </p:cNvSpPr>
          <p:nvPr/>
        </p:nvSpPr>
        <p:spPr>
          <a:xfrm>
            <a:off x="64890" y="5350574"/>
            <a:ext cx="10307835" cy="1445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04346"/>
              </a:buClr>
              <a:buSzPts val="4800"/>
              <a:buFont typeface="Ubuntu"/>
              <a:buNone/>
              <a:defRPr sz="6400" kern="1200">
                <a:solidFill>
                  <a:srgbClr val="404346"/>
                </a:solidFill>
                <a:latin typeface="Ubuntu" panose="020B0804030602030204" pitchFamily="34" charset="0"/>
                <a:ea typeface="+mn-ea"/>
                <a:cs typeface="+mn-cs"/>
              </a:defRPr>
            </a:lvl1pPr>
            <a:lvl2pPr marL="91437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Karla" panose="020B0004030503030003" pitchFamily="34" charset="77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hu-HU" sz="1800" dirty="0"/>
          </a:p>
        </p:txBody>
      </p:sp>
    </p:spTree>
    <p:extLst>
      <p:ext uri="{BB962C8B-B14F-4D97-AF65-F5344CB8AC3E}">
        <p14:creationId xmlns:p14="http://schemas.microsoft.com/office/powerpoint/2010/main" val="10729494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701F64A-A199-C1FF-EA61-29571326E2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584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01F64A-A199-C1FF-EA61-29571326E2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Termék-regisztráció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FADA679-7D92-49C7-AAC5-F64DBD15A66C}"/>
              </a:ext>
            </a:extLst>
          </p:cNvPr>
          <p:cNvSpPr txBox="1">
            <a:spLocks/>
          </p:cNvSpPr>
          <p:nvPr/>
        </p:nvSpPr>
        <p:spPr>
          <a:xfrm>
            <a:off x="4018497" y="323832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b="1" dirty="0">
                <a:solidFill>
                  <a:srgbClr val="000000"/>
                </a:solidFill>
                <a:latin typeface="Karla" pitchFamily="2" charset="-18"/>
              </a:rPr>
              <a:t>Termékregisztráció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800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pic>
        <p:nvPicPr>
          <p:cNvPr id="8" name="Ábra 7" descr="Palack egyszínű kitöltéssel">
            <a:extLst>
              <a:ext uri="{FF2B5EF4-FFF2-40B4-BE49-F238E27FC236}">
                <a16:creationId xmlns:a16="http://schemas.microsoft.com/office/drawing/2014/main" id="{971D3092-7B62-54D0-60B8-367D38C381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054555" y="1898945"/>
            <a:ext cx="390391" cy="308635"/>
          </a:xfrm>
          <a:prstGeom prst="rect">
            <a:avLst/>
          </a:prstGeom>
        </p:spPr>
      </p:pic>
      <p:sp>
        <p:nvSpPr>
          <p:cNvPr id="9" name="Téglalap: lekerekített 5">
            <a:extLst>
              <a:ext uri="{FF2B5EF4-FFF2-40B4-BE49-F238E27FC236}">
                <a16:creationId xmlns:a16="http://schemas.microsoft.com/office/drawing/2014/main" id="{8A28BCBC-FD54-E427-D591-8EBF63633998}"/>
              </a:ext>
            </a:extLst>
          </p:cNvPr>
          <p:cNvSpPr/>
          <p:nvPr/>
        </p:nvSpPr>
        <p:spPr>
          <a:xfrm>
            <a:off x="4332315" y="1653768"/>
            <a:ext cx="3527369" cy="249781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Arial"/>
              </a:rPr>
              <a:t>Miért kell regisztrálni? </a:t>
            </a:r>
            <a:endParaRPr lang="hu-HU" sz="1400" b="1" kern="0" dirty="0">
              <a:solidFill>
                <a:srgbClr val="404346"/>
              </a:solidFill>
              <a:latin typeface="Karla" pitchFamily="2" charset="-18"/>
              <a:sym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hu-HU" sz="1400" kern="0" dirty="0">
              <a:solidFill>
                <a:srgbClr val="404346"/>
              </a:solidFill>
              <a:latin typeface="Karla" pitchFamily="2" charset="-18"/>
            </a:endParaRP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Termékfelismeréshez termékregisztráció szükséges.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Visszaválthatósági adatbázis létrehozása.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Csalás kockázat csökkentése (több paramétert együttesen vizsgál az RVM)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Jelölés RVM általi olvashatóságának ellenőrzése.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13" name="Téglalap: lekerekített 5">
            <a:extLst>
              <a:ext uri="{FF2B5EF4-FFF2-40B4-BE49-F238E27FC236}">
                <a16:creationId xmlns:a16="http://schemas.microsoft.com/office/drawing/2014/main" id="{4C66F9D7-791D-03E6-6B9D-BAD18E0BF96F}"/>
              </a:ext>
            </a:extLst>
          </p:cNvPr>
          <p:cNvSpPr/>
          <p:nvPr/>
        </p:nvSpPr>
        <p:spPr>
          <a:xfrm>
            <a:off x="4138778" y="5652905"/>
            <a:ext cx="7779076" cy="107236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32" lvl="1" indent="-285744">
              <a:buFont typeface="Courier New" panose="02070309020205020404" pitchFamily="49" charset="0"/>
              <a:buChar char="o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Gyártók vagy első belföldi forgalomba hozók októbertől tudják kezdeményezni. </a:t>
            </a:r>
          </a:p>
          <a:p>
            <a:pPr marL="742932" marR="0" lvl="1" indent="-285744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2024. június 30-ig még a régi csomagolással is forgalomba hozhatók termékek (forgalmazási korlát nincs) </a:t>
            </a:r>
          </a:p>
          <a:p>
            <a:pPr marL="742932" marR="0" lvl="1" indent="-285744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Többutas termékek visszaváltása nem változik, de többutas terméket jelölő logó kerül a termékekre, nincs új EAN. </a:t>
            </a:r>
          </a:p>
        </p:txBody>
      </p:sp>
      <p:sp>
        <p:nvSpPr>
          <p:cNvPr id="16" name="Téglalap: lekerekített 5">
            <a:extLst>
              <a:ext uri="{FF2B5EF4-FFF2-40B4-BE49-F238E27FC236}">
                <a16:creationId xmlns:a16="http://schemas.microsoft.com/office/drawing/2014/main" id="{8C1302DA-2D23-AC5A-4FD9-0C6440107441}"/>
              </a:ext>
            </a:extLst>
          </p:cNvPr>
          <p:cNvSpPr/>
          <p:nvPr/>
        </p:nvSpPr>
        <p:spPr>
          <a:xfrm>
            <a:off x="8173777" y="1640773"/>
            <a:ext cx="3527369" cy="252961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Arial"/>
              </a:rPr>
              <a:t>Mit kell regisztrálni? </a:t>
            </a:r>
          </a:p>
          <a:p>
            <a:pPr lvl="0">
              <a:buClr>
                <a:srgbClr val="DDDE59"/>
              </a:buClr>
              <a:defRPr/>
            </a:pPr>
            <a:endParaRPr lang="hu-HU" sz="1200" dirty="0">
              <a:solidFill>
                <a:srgbClr val="404346"/>
              </a:solidFill>
              <a:latin typeface="Karla" pitchFamily="2" charset="-18"/>
            </a:endParaRPr>
          </a:p>
          <a:p>
            <a:pPr lvl="0">
              <a:buClr>
                <a:srgbClr val="DDDE59"/>
              </a:buClr>
              <a:defRPr/>
            </a:pP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Évi 5.000 db-os forgalomba hozatalt  meghaladó, DRS hatálya alá eső italcsomagolást regisztrálni kell. </a:t>
            </a:r>
          </a:p>
          <a:p>
            <a:pPr marL="285750" lvl="8" indent="-285750">
              <a:buClr>
                <a:srgbClr val="DDDE59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>
                <a:solidFill>
                  <a:srgbClr val="404346"/>
                </a:solidFill>
                <a:latin typeface="Karla" pitchFamily="2" charset="-18"/>
              </a:rPr>
              <a:t>műanyag, fém, ü</a:t>
            </a:r>
            <a:r>
              <a:rPr kumimoji="0" lang="hu-HU" sz="1400" b="1" i="0" u="none" strike="noStrike" kern="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cs typeface="Arial"/>
                <a:sym typeface="Arial"/>
              </a:rPr>
              <a:t>veg</a:t>
            </a: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cs typeface="Arial"/>
                <a:sym typeface="Arial"/>
              </a:rPr>
              <a:t> 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cs typeface="Arial"/>
                <a:sym typeface="Arial"/>
              </a:rPr>
              <a:t>alapanyagú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E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400" b="1" dirty="0">
                <a:solidFill>
                  <a:srgbClr val="404346"/>
                </a:solidFill>
                <a:latin typeface="Karla" pitchFamily="2" charset="-18"/>
              </a:rPr>
              <a:t>0,1-3 liter 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közötti űrtartalmú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E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400" b="1" dirty="0">
                <a:solidFill>
                  <a:srgbClr val="404346"/>
                </a:solidFill>
                <a:latin typeface="Karla" pitchFamily="2" charset="-18"/>
              </a:rPr>
              <a:t>egyutas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 (nem </a:t>
            </a:r>
            <a:r>
              <a:rPr lang="hu-HU" sz="1400" dirty="0" err="1">
                <a:solidFill>
                  <a:srgbClr val="404346"/>
                </a:solidFill>
                <a:latin typeface="Karla" pitchFamily="2" charset="-18"/>
              </a:rPr>
              <a:t>újrahasználható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) </a:t>
            </a:r>
            <a:r>
              <a:rPr lang="hu-HU" sz="1400" b="1" dirty="0">
                <a:solidFill>
                  <a:srgbClr val="404346"/>
                </a:solidFill>
                <a:latin typeface="Karla" pitchFamily="2" charset="-18"/>
              </a:rPr>
              <a:t>vagy többutas 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(</a:t>
            </a:r>
            <a:r>
              <a:rPr lang="hu-HU" sz="1400" dirty="0" err="1">
                <a:solidFill>
                  <a:srgbClr val="404346"/>
                </a:solidFill>
                <a:latin typeface="Karla" pitchFamily="2" charset="-18"/>
              </a:rPr>
              <a:t>újrahasználható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)</a:t>
            </a: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E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hu-HU" sz="1400" dirty="0">
              <a:solidFill>
                <a:srgbClr val="404346"/>
              </a:solidFill>
              <a:latin typeface="Karla" pitchFamily="2" charset="-18"/>
            </a:endParaRPr>
          </a:p>
          <a:p>
            <a:pPr marL="285750" marR="0" lvl="0" indent="-2857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DDE59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(~ 25.000 palack!!)</a:t>
            </a: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380EA686-379B-0480-14AF-C39085AA823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4877368" y="4337675"/>
            <a:ext cx="2576980" cy="1188177"/>
          </a:xfrm>
          <a:prstGeom prst="roundRect">
            <a:avLst/>
          </a:prstGeom>
          <a:solidFill>
            <a:srgbClr val="C3A888"/>
          </a:solidFill>
          <a:ln w="9525" cmpd="sng">
            <a:solidFill>
              <a:schemeClr val="accent1"/>
            </a:solidFill>
            <a:prstDash val="solid"/>
          </a:ln>
        </p:spPr>
        <p:txBody>
          <a:bodyPr lIns="54000" tIns="54000" rIns="54000" bIns="54000" anchor="ctr">
            <a:noAutofit/>
          </a:bodyPr>
          <a:lstStyle>
            <a:defPPr>
              <a:defRPr lang="de-DE"/>
            </a:defPPr>
            <a:lvl1pPr indent="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lvl1pPr>
            <a:lvl2pPr marL="188913" lvl="1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"/>
            </a:lvl2pPr>
            <a:lvl3pPr marL="379413" lvl="2" indent="-188913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 marL="571500" lvl="3" indent="-19050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"/>
            </a:lvl4pPr>
            <a:lvl5pPr marL="760413" lvl="4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</a:lvl5pPr>
            <a:lvl6pPr marL="12176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6pPr>
            <a:lvl7pPr marL="16748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7pPr>
            <a:lvl8pPr marL="21320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8pPr>
            <a:lvl9pPr marL="25892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9pPr>
          </a:lstStyle>
          <a:p>
            <a:pPr algn="ctr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Visszaváltó berendezés a termékeket </a:t>
            </a:r>
          </a:p>
          <a:p>
            <a:pPr lvl="1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- Regisztrált GTIN kód,</a:t>
            </a:r>
          </a:p>
          <a:p>
            <a:pPr lvl="1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- forma-, és</a:t>
            </a:r>
          </a:p>
          <a:p>
            <a:pPr lvl="1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- tömeg alapján azonosítja.</a:t>
            </a:r>
            <a:endParaRPr lang="hu-HU" sz="1000" b="1" dirty="0">
              <a:solidFill>
                <a:schemeClr val="bg1"/>
              </a:solidFill>
              <a:latin typeface="Karla" pitchFamily="2" charset="-18"/>
            </a:endParaRPr>
          </a:p>
        </p:txBody>
      </p:sp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DD225E2-68CD-7F84-8296-78BBC22C3D7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8648973" y="4337675"/>
            <a:ext cx="2576979" cy="1188177"/>
          </a:xfrm>
          <a:prstGeom prst="roundRect">
            <a:avLst/>
          </a:prstGeom>
          <a:solidFill>
            <a:srgbClr val="C3A888"/>
          </a:solidFill>
          <a:ln w="9525" cmpd="sng">
            <a:solidFill>
              <a:schemeClr val="accent1"/>
            </a:solidFill>
            <a:prstDash val="solid"/>
          </a:ln>
        </p:spPr>
        <p:txBody>
          <a:bodyPr lIns="54000" tIns="54000" rIns="54000" bIns="54000" anchor="ctr">
            <a:noAutofit/>
          </a:bodyPr>
          <a:lstStyle>
            <a:defPPr>
              <a:defRPr lang="de-DE"/>
            </a:defPPr>
            <a:lvl1pPr indent="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lvl1pPr>
            <a:lvl2pPr marL="188913" lvl="1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"/>
            </a:lvl2pPr>
            <a:lvl3pPr marL="379413" lvl="2" indent="-188913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 marL="571500" lvl="3" indent="-19050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"/>
            </a:lvl4pPr>
            <a:lvl5pPr marL="760413" lvl="4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</a:lvl5pPr>
            <a:lvl6pPr marL="12176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6pPr>
            <a:lvl7pPr marL="16748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7pPr>
            <a:lvl8pPr marL="21320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8pPr>
            <a:lvl9pPr marL="25892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9pPr>
          </a:lstStyle>
          <a:p>
            <a:pPr algn="ctr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Kivételek: </a:t>
            </a:r>
          </a:p>
          <a:p>
            <a:pPr lvl="1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- Csekély mennyiségű kibocsátók,</a:t>
            </a:r>
          </a:p>
          <a:p>
            <a:pPr lvl="1"/>
            <a:r>
              <a:rPr lang="hu-HU" sz="1200" b="1" dirty="0">
                <a:solidFill>
                  <a:schemeClr val="bg1"/>
                </a:solidFill>
                <a:latin typeface="Karla" pitchFamily="2" charset="-18"/>
              </a:rPr>
              <a:t>- Tej és tejalapú italtermékek. </a:t>
            </a:r>
          </a:p>
        </p:txBody>
      </p:sp>
      <p:sp>
        <p:nvSpPr>
          <p:cNvPr id="19" name="Téglalap: lekerekített 6">
            <a:extLst>
              <a:ext uri="{FF2B5EF4-FFF2-40B4-BE49-F238E27FC236}">
                <a16:creationId xmlns:a16="http://schemas.microsoft.com/office/drawing/2014/main" id="{7BFBE25E-F428-4B60-3107-91752FDC265D}"/>
              </a:ext>
            </a:extLst>
          </p:cNvPr>
          <p:cNvSpPr/>
          <p:nvPr/>
        </p:nvSpPr>
        <p:spPr>
          <a:xfrm>
            <a:off x="4018497" y="723910"/>
            <a:ext cx="7913597" cy="730295"/>
          </a:xfrm>
          <a:prstGeom prst="round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hu-HU" sz="1200" b="1" i="1" dirty="0">
                <a:solidFill>
                  <a:srgbClr val="000000"/>
                </a:solidFill>
                <a:latin typeface="Karla" pitchFamily="2" charset="-18"/>
              </a:rPr>
              <a:t>6. § (1) A gyártó a forgalomba hozatal időpontját megelőzően legalább 45 nappal a koncessziós társaság által biztosított elektronikus felületen kezdeményezi a kötelezően visszaváltási díjas termék regisztrációját.</a:t>
            </a:r>
          </a:p>
        </p:txBody>
      </p:sp>
      <p:pic>
        <p:nvPicPr>
          <p:cNvPr id="2" name="Ábra 7" descr="Információ egyszínű kitöltéssel">
            <a:extLst>
              <a:ext uri="{FF2B5EF4-FFF2-40B4-BE49-F238E27FC236}">
                <a16:creationId xmlns:a16="http://schemas.microsoft.com/office/drawing/2014/main" id="{6FB53FB7-4F71-3807-3F6F-6ED4EB561C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765500" y="4278637"/>
            <a:ext cx="223736" cy="223736"/>
          </a:xfrm>
          <a:prstGeom prst="rect">
            <a:avLst/>
          </a:prstGeom>
        </p:spPr>
      </p:pic>
      <p:pic>
        <p:nvPicPr>
          <p:cNvPr id="4" name="Ábra 7" descr="Információ egyszínű kitöltéssel">
            <a:extLst>
              <a:ext uri="{FF2B5EF4-FFF2-40B4-BE49-F238E27FC236}">
                <a16:creationId xmlns:a16="http://schemas.microsoft.com/office/drawing/2014/main" id="{EB668384-D6C8-A47A-27F8-6FD0EB7CE41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37105" y="4297439"/>
            <a:ext cx="223736" cy="223736"/>
          </a:xfrm>
          <a:prstGeom prst="rect">
            <a:avLst/>
          </a:prstGeom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32E0552B-B2EB-36FE-71FE-0607AE3F14B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7438" y="3875416"/>
            <a:ext cx="3239961" cy="2777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060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3CD2A12-6F33-E7C8-7E99-1116FF8033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590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CD2A12-6F33-E7C8-7E99-1116FF803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0C23640-FE7E-5C91-8A87-1243F46BD0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45185" y="2155287"/>
            <a:ext cx="1515296" cy="1955159"/>
          </a:xfrm>
          <a:prstGeom prst="rect">
            <a:avLst/>
          </a:prstGeom>
        </p:spPr>
      </p:pic>
      <p:sp>
        <p:nvSpPr>
          <p:cNvPr id="2" name="Téglalap: lekerekített 5">
            <a:extLst>
              <a:ext uri="{FF2B5EF4-FFF2-40B4-BE49-F238E27FC236}">
                <a16:creationId xmlns:a16="http://schemas.microsoft.com/office/drawing/2014/main" id="{40FF7796-81FD-272F-300B-13557DE656E7}"/>
              </a:ext>
            </a:extLst>
          </p:cNvPr>
          <p:cNvSpPr/>
          <p:nvPr/>
        </p:nvSpPr>
        <p:spPr>
          <a:xfrm>
            <a:off x="4083520" y="2161696"/>
            <a:ext cx="5764695" cy="14387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Utalvány (</a:t>
            </a:r>
            <a:r>
              <a:rPr lang="hu-HU" sz="1400" b="1" kern="0" dirty="0" err="1">
                <a:solidFill>
                  <a:srgbClr val="404346"/>
                </a:solidFill>
                <a:latin typeface="Karla" pitchFamily="2" charset="-18"/>
                <a:sym typeface="Arial"/>
              </a:rPr>
              <a:t>voucher</a:t>
            </a: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)</a:t>
            </a:r>
            <a:endParaRPr lang="hu-HU" sz="1400" kern="0" dirty="0">
              <a:solidFill>
                <a:srgbClr val="404346"/>
              </a:solidFill>
              <a:latin typeface="Karla" pitchFamily="2" charset="-18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Rendszerindulásra rendelkezésre áll;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Levásárolható vagy készpénzre váltható;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Beváltás bolthoz kötötten vagy hálózatban történhet;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Megtérítése havi szinten az RVM által rögzített adatok alapján. 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050" b="1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4" name="Téglalap: lekerekített 5">
            <a:extLst>
              <a:ext uri="{FF2B5EF4-FFF2-40B4-BE49-F238E27FC236}">
                <a16:creationId xmlns:a16="http://schemas.microsoft.com/office/drawing/2014/main" id="{0EC2366A-9FD4-111D-4D86-46BC556EE103}"/>
              </a:ext>
            </a:extLst>
          </p:cNvPr>
          <p:cNvSpPr/>
          <p:nvPr/>
        </p:nvSpPr>
        <p:spPr>
          <a:xfrm>
            <a:off x="4083520" y="3731008"/>
            <a:ext cx="5764695" cy="13173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Azonnali megtérítés</a:t>
            </a:r>
            <a:endParaRPr lang="hu-HU" sz="1400" kern="0" dirty="0">
              <a:solidFill>
                <a:srgbClr val="404346"/>
              </a:solidFill>
              <a:latin typeface="Karla" pitchFamily="2" charset="-18"/>
            </a:endParaRP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/>
                <a:cs typeface="Arial"/>
              </a:rPr>
              <a:t>2024. áprilisában indul;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pplikáció segítségével működik,  az abban megadott számlaszámra történik a visszafizetés (instant </a:t>
            </a:r>
            <a:r>
              <a:rPr lang="hu-HU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payment</a:t>
            </a: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). 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pplikáció iOS-re és Androidra is letölthető. 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050" b="1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5" name="Téglalap: lekerekített 5">
            <a:extLst>
              <a:ext uri="{FF2B5EF4-FFF2-40B4-BE49-F238E27FC236}">
                <a16:creationId xmlns:a16="http://schemas.microsoft.com/office/drawing/2014/main" id="{5A56E7AE-CA7A-AE56-B3F4-A0A8A74A9DD4}"/>
              </a:ext>
            </a:extLst>
          </p:cNvPr>
          <p:cNvSpPr/>
          <p:nvPr/>
        </p:nvSpPr>
        <p:spPr>
          <a:xfrm>
            <a:off x="4083521" y="5178962"/>
            <a:ext cx="5764695" cy="143871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Jótékonysági felajánlás (</a:t>
            </a:r>
            <a:r>
              <a:rPr lang="hu-HU" sz="1400" b="1" kern="0" dirty="0" err="1">
                <a:solidFill>
                  <a:srgbClr val="404346"/>
                </a:solidFill>
                <a:latin typeface="Karla" pitchFamily="2" charset="-18"/>
                <a:sym typeface="Arial"/>
              </a:rPr>
              <a:t>charity</a:t>
            </a: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)</a:t>
            </a:r>
            <a:endParaRPr lang="hu-HU" sz="1400" kern="0" dirty="0">
              <a:solidFill>
                <a:srgbClr val="404346"/>
              </a:solidFill>
              <a:latin typeface="Karla" pitchFamily="2" charset="-18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1. évben egy jótékonysági cél lesz választható.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övetkező években időszakonként változnak a célok. 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gy összegben történik a kiutalás a kampány végével. </a:t>
            </a: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Szabályzat kialakítás alatt van. </a:t>
            </a:r>
          </a:p>
          <a:p>
            <a:pPr marL="0" marR="0" lvl="0" indent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 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050" b="1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6" name="Téglalap: lekerekített 6">
            <a:extLst>
              <a:ext uri="{FF2B5EF4-FFF2-40B4-BE49-F238E27FC236}">
                <a16:creationId xmlns:a16="http://schemas.microsoft.com/office/drawing/2014/main" id="{7084B6B2-DA45-26A0-D53A-A3E6554CC0A9}"/>
              </a:ext>
            </a:extLst>
          </p:cNvPr>
          <p:cNvSpPr/>
          <p:nvPr/>
        </p:nvSpPr>
        <p:spPr>
          <a:xfrm>
            <a:off x="4083520" y="1147542"/>
            <a:ext cx="7913597" cy="882799"/>
          </a:xfrm>
          <a:prstGeom prst="round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hu-HU" sz="1100" b="1" i="1" dirty="0">
                <a:solidFill>
                  <a:srgbClr val="000000"/>
                </a:solidFill>
                <a:latin typeface="Karla" pitchFamily="2" charset="-18"/>
              </a:rPr>
              <a:t>24. § (3) A koncessziós társaság olyan visszaváltási díj visszatérítési rendszert épít ki és üzemeltet, amelyben a forgalmazónál elhelyezett automata visszaváltó berendezések által kiadott, az adott visszaváltási helyen levásárolható vagy  készpénzre beváltható utalvány mellett minimum egy további módon biztosítja a visszaváltási díj megtérítését a fogyasztó részére.</a:t>
            </a: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CDE4979E-E8F0-21BF-7B33-C144B236DC92}"/>
              </a:ext>
            </a:extLst>
          </p:cNvPr>
          <p:cNvSpPr txBox="1">
            <a:spLocks/>
          </p:cNvSpPr>
          <p:nvPr/>
        </p:nvSpPr>
        <p:spPr>
          <a:xfrm>
            <a:off x="4071518" y="668915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hu-H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Visszatérítés</a:t>
            </a:r>
          </a:p>
          <a:p>
            <a:pPr marL="285750" marR="0" lvl="0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800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90A1AB3-0C03-4901-CE8F-AA77746606F4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Visszatérítés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E6C972C-AD8C-FE00-4670-F9E1F1B77B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34987" y="3542212"/>
            <a:ext cx="1515296" cy="3222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139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CE7322-A349-AC75-7C89-1232326C7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51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CE7322-A349-AC75-7C89-1232326C7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Pénzügy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3" name="Content Placeholder 10">
            <a:extLst>
              <a:ext uri="{FF2B5EF4-FFF2-40B4-BE49-F238E27FC236}">
                <a16:creationId xmlns:a16="http://schemas.microsoft.com/office/drawing/2014/main" id="{5EBCB20A-BEA8-3368-BF97-E607CE6E04CA}"/>
              </a:ext>
            </a:extLst>
          </p:cNvPr>
          <p:cNvSpPr txBox="1">
            <a:spLocks/>
          </p:cNvSpPr>
          <p:nvPr/>
        </p:nvSpPr>
        <p:spPr>
          <a:xfrm>
            <a:off x="4071518" y="226813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b="1" dirty="0">
                <a:solidFill>
                  <a:srgbClr val="000000"/>
                </a:solidFill>
                <a:latin typeface="Karla" pitchFamily="2" charset="-18"/>
              </a:rPr>
              <a:t>DRS pénzáramok</a:t>
            </a:r>
            <a:endParaRPr kumimoji="0" lang="hu-HU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285750" marR="0" lvl="0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FFFF00"/>
              </a:highlight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églalap: lekerekített 5">
            <a:extLst>
              <a:ext uri="{FF2B5EF4-FFF2-40B4-BE49-F238E27FC236}">
                <a16:creationId xmlns:a16="http://schemas.microsoft.com/office/drawing/2014/main" id="{98467150-99C5-E457-2C00-9DC416E7B9ED}"/>
              </a:ext>
            </a:extLst>
          </p:cNvPr>
          <p:cNvSpPr/>
          <p:nvPr/>
        </p:nvSpPr>
        <p:spPr>
          <a:xfrm>
            <a:off x="4018499" y="624275"/>
            <a:ext cx="7966618" cy="230269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6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Gyártói díjak  </a:t>
            </a:r>
          </a:p>
          <a:p>
            <a:pPr lvl="1" algn="just">
              <a:buClr>
                <a:srgbClr val="000000"/>
              </a:buClr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Csatlakozási díj </a:t>
            </a:r>
          </a:p>
          <a:p>
            <a:pPr marL="628650" lvl="1" indent="-171450" algn="just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Díjfizetési kötelezettség a DRS bevezetését követő 5. év végéig áll fenn.</a:t>
            </a:r>
          </a:p>
          <a:p>
            <a:pPr marL="628650" lvl="1" indent="-171450" algn="just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Fedeznie kell a MOHU DRS bevezetéséhez szükséges beruházásainak indokolt költségeit.</a:t>
            </a:r>
            <a:endParaRPr lang="hu-HU" sz="1400" b="1" kern="0" dirty="0">
              <a:solidFill>
                <a:srgbClr val="404346"/>
              </a:solidFill>
              <a:latin typeface="Karla" pitchFamily="2" charset="-18"/>
            </a:endParaRPr>
          </a:p>
          <a:p>
            <a:pPr lvl="1" algn="just">
              <a:buClr>
                <a:srgbClr val="000000"/>
              </a:buClr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Szolgáltatási díj</a:t>
            </a:r>
          </a:p>
          <a:p>
            <a:pPr marL="628650" lvl="1" indent="-171450" algn="just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Fedeznie kell a MOHU DRS működtetésével kapcsolatosan felmerült indokolt költségeit.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Mértékük</a:t>
            </a: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: rendeletben meghatározott, a tárgyévet megelőző év november 30-ig. </a:t>
            </a:r>
          </a:p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Esedékességük: </a:t>
            </a: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negyedévente, a MOHU által kiállított számla alapján. </a:t>
            </a: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  <p:sp>
        <p:nvSpPr>
          <p:cNvPr id="6" name="Téglalap: lekerekített 5">
            <a:extLst>
              <a:ext uri="{FF2B5EF4-FFF2-40B4-BE49-F238E27FC236}">
                <a16:creationId xmlns:a16="http://schemas.microsoft.com/office/drawing/2014/main" id="{21BD6C51-7429-0A4A-2D04-F6CB02FF6F56}"/>
              </a:ext>
            </a:extLst>
          </p:cNvPr>
          <p:cNvSpPr/>
          <p:nvPr/>
        </p:nvSpPr>
        <p:spPr>
          <a:xfrm>
            <a:off x="4071518" y="4897587"/>
            <a:ext cx="7966618" cy="17666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buClr>
                <a:srgbClr val="000000"/>
              </a:buClr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Kezelési díj (palack alapú díj)</a:t>
            </a:r>
          </a:p>
          <a:p>
            <a:pPr marL="171450" indent="-1714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A kereskedő a visszaváltásra fordított erőforrásaiért kapja</a:t>
            </a:r>
          </a:p>
          <a:p>
            <a:pPr marL="171450" indent="-1714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Kézi és Gépi visszaváltás esetén eltérő mértékű. </a:t>
            </a:r>
          </a:p>
          <a:p>
            <a:pPr marL="171450" indent="-1714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MOHU fizeti meg havi elszámolásban a Partnerportálon rögzített számlaszámra. </a:t>
            </a:r>
          </a:p>
          <a:p>
            <a:pPr marL="171450" indent="-1714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Bizonylatolás: önszámlázással – NAV adatok megadása szükséges a Partnerportálon!! </a:t>
            </a:r>
          </a:p>
          <a:p>
            <a:pPr marL="171450" indent="-1714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Az RVM által rögzített mennyiségi adatok alapján. </a:t>
            </a:r>
          </a:p>
          <a:p>
            <a:pPr marL="171450" marR="0" lvl="0" indent="-171450" algn="l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05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  <p:sp>
        <p:nvSpPr>
          <p:cNvPr id="5" name="Téglalap: lekerekített 5">
            <a:extLst>
              <a:ext uri="{FF2B5EF4-FFF2-40B4-BE49-F238E27FC236}">
                <a16:creationId xmlns:a16="http://schemas.microsoft.com/office/drawing/2014/main" id="{FA454024-324D-79EA-03F9-BB686425A1DC}"/>
              </a:ext>
            </a:extLst>
          </p:cNvPr>
          <p:cNvSpPr/>
          <p:nvPr/>
        </p:nvSpPr>
        <p:spPr>
          <a:xfrm>
            <a:off x="4071518" y="3028937"/>
            <a:ext cx="7966618" cy="176668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hu-HU" sz="16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Visszaváltási díj (palack alapú díj)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Motiváció a visszaváltási hajlandóság növelésére.  </a:t>
            </a: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V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égig halad az értékláncon, legvégül a fogyasztó fizeti meg.  </a:t>
            </a:r>
          </a:p>
          <a:p>
            <a:pPr marL="628650" marR="0" lvl="1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Egyutas (nem </a:t>
            </a:r>
            <a:r>
              <a:rPr kumimoji="0" lang="hu-HU" sz="1200" b="0" i="0" u="none" strike="noStrike" kern="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újrahasználható</a:t>
            </a: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): 50 forint/db;</a:t>
            </a:r>
          </a:p>
          <a:p>
            <a:pPr marL="628650" marR="0" lvl="1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2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Többutas: a gyártó határozza meg. </a:t>
            </a:r>
          </a:p>
          <a:p>
            <a:pPr marL="171450" indent="-171450" algn="just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Megtérítése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: </a:t>
            </a:r>
            <a:r>
              <a:rPr lang="hu-HU" sz="1400" kern="0" dirty="0" err="1">
                <a:solidFill>
                  <a:srgbClr val="404346"/>
                </a:solidFill>
                <a:latin typeface="Karla" pitchFamily="2" charset="-18"/>
              </a:rPr>
              <a:t>REpont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vag</a:t>
            </a: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y MOHU t</a:t>
            </a:r>
            <a:r>
              <a:rPr kumimoji="0" lang="hu-H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éríti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meg a fogyasztó részére</a:t>
            </a:r>
          </a:p>
          <a:p>
            <a:pPr marL="171450" indent="-171450" algn="just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z automata által rögzített </a:t>
            </a:r>
            <a:r>
              <a:rPr kumimoji="0" lang="hu-HU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datok alapján, havi szinten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, utólagosan,</a:t>
            </a:r>
            <a:r>
              <a:rPr kumimoji="0" lang="hu-HU" sz="14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 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 beváltástól függetlenül (gépi), vagy 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elszállításkor (kézi) jut hozzá a </a:t>
            </a:r>
            <a:r>
              <a:rPr kumimoji="0" lang="hu-HU" sz="1400" b="0" i="0" u="none" strike="noStrike" kern="0" cap="none" spc="0" normalizeH="0" baseline="0" noProof="0" dirty="0" err="1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REpont</a:t>
            </a:r>
            <a:r>
              <a:rPr kumimoji="0" lang="hu-HU" sz="1400" b="0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.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R="0" lvl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endParaRPr kumimoji="0" lang="hu-HU" sz="1200" b="0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628650" marR="0" lvl="1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5ECCB5F7-3560-596C-5ECE-5EB2C78916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25640" y="3110440"/>
            <a:ext cx="1018120" cy="101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078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Hol tartunk?</a:t>
            </a:r>
            <a:endParaRPr kumimoji="0" lang="en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3" name="Téglalap: lekerekített 5">
            <a:extLst>
              <a:ext uri="{FF2B5EF4-FFF2-40B4-BE49-F238E27FC236}">
                <a16:creationId xmlns:a16="http://schemas.microsoft.com/office/drawing/2014/main" id="{187E63B9-1693-588C-BEE7-2EAB3A0F21D2}"/>
              </a:ext>
            </a:extLst>
          </p:cNvPr>
          <p:cNvSpPr/>
          <p:nvPr/>
        </p:nvSpPr>
        <p:spPr>
          <a:xfrm>
            <a:off x="4071519" y="849495"/>
            <a:ext cx="7515498" cy="538543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hu-HU" dirty="0">
                <a:solidFill>
                  <a:srgbClr val="404346"/>
                </a:solidFill>
              </a:rPr>
              <a:t>Visszaváltó hálózat</a:t>
            </a:r>
          </a:p>
          <a:p>
            <a:r>
              <a:rPr lang="hu-HU" dirty="0">
                <a:solidFill>
                  <a:srgbClr val="404346"/>
                </a:solidFill>
              </a:rPr>
              <a:t>- 2200 db gép telepítve 1750 ponton</a:t>
            </a:r>
          </a:p>
          <a:p>
            <a:r>
              <a:rPr lang="hu-HU" dirty="0">
                <a:solidFill>
                  <a:srgbClr val="404346"/>
                </a:solidFill>
              </a:rPr>
              <a:t>- ~ 500 kézi </a:t>
            </a:r>
            <a:r>
              <a:rPr lang="hu-HU" dirty="0" err="1">
                <a:solidFill>
                  <a:srgbClr val="404346"/>
                </a:solidFill>
              </a:rPr>
              <a:t>Repont</a:t>
            </a:r>
            <a:r>
              <a:rPr lang="hu-HU" dirty="0">
                <a:solidFill>
                  <a:srgbClr val="404346"/>
                </a:solidFill>
              </a:rPr>
              <a:t> (!)</a:t>
            </a:r>
          </a:p>
          <a:p>
            <a:r>
              <a:rPr lang="hu-HU" dirty="0">
                <a:solidFill>
                  <a:srgbClr val="404346"/>
                </a:solidFill>
              </a:rPr>
              <a:t>- folyamatosa jelentkezés és jóváhagyás, telepítés</a:t>
            </a:r>
          </a:p>
          <a:p>
            <a:endParaRPr lang="hu-HU" dirty="0">
              <a:solidFill>
                <a:srgbClr val="404346"/>
              </a:solidFill>
            </a:endParaRPr>
          </a:p>
          <a:p>
            <a:r>
              <a:rPr lang="hu-HU" dirty="0">
                <a:solidFill>
                  <a:srgbClr val="404346"/>
                </a:solidFill>
              </a:rPr>
              <a:t>Szolgáltatási háttér felállt és működik</a:t>
            </a:r>
          </a:p>
          <a:p>
            <a:pPr marL="285750" indent="-285750">
              <a:buFontTx/>
              <a:buChar char="-"/>
            </a:pPr>
            <a:r>
              <a:rPr lang="hu-HU" dirty="0">
                <a:solidFill>
                  <a:srgbClr val="404346"/>
                </a:solidFill>
              </a:rPr>
              <a:t>Logisztika</a:t>
            </a:r>
          </a:p>
          <a:p>
            <a:pPr marL="285750" indent="-285750">
              <a:buFontTx/>
              <a:buChar char="-"/>
            </a:pPr>
            <a:r>
              <a:rPr lang="hu-HU" dirty="0">
                <a:solidFill>
                  <a:srgbClr val="404346"/>
                </a:solidFill>
              </a:rPr>
              <a:t>RVM </a:t>
            </a:r>
            <a:r>
              <a:rPr lang="hu-HU" dirty="0" err="1">
                <a:solidFill>
                  <a:srgbClr val="404346"/>
                </a:solidFill>
              </a:rPr>
              <a:t>HelpDesk</a:t>
            </a:r>
            <a:r>
              <a:rPr lang="hu-HU" dirty="0">
                <a:solidFill>
                  <a:srgbClr val="404346"/>
                </a:solidFill>
              </a:rPr>
              <a:t> és szerviz</a:t>
            </a:r>
          </a:p>
          <a:p>
            <a:pPr marL="285750" indent="-285750">
              <a:buFontTx/>
              <a:buChar char="-"/>
            </a:pPr>
            <a:r>
              <a:rPr lang="hu-HU" dirty="0" err="1">
                <a:solidFill>
                  <a:srgbClr val="404346"/>
                </a:solidFill>
              </a:rPr>
              <a:t>mobilRVM</a:t>
            </a:r>
            <a:endParaRPr lang="hu-HU" dirty="0">
              <a:solidFill>
                <a:srgbClr val="404346"/>
              </a:solidFill>
            </a:endParaRPr>
          </a:p>
          <a:p>
            <a:endParaRPr lang="hu-HU" dirty="0">
              <a:solidFill>
                <a:srgbClr val="404346"/>
              </a:solidFill>
            </a:endParaRPr>
          </a:p>
          <a:p>
            <a:r>
              <a:rPr lang="hu-HU" dirty="0">
                <a:solidFill>
                  <a:srgbClr val="404346"/>
                </a:solidFill>
              </a:rPr>
              <a:t>IT rendszer</a:t>
            </a:r>
          </a:p>
          <a:p>
            <a:pPr marL="285750" indent="-285750">
              <a:buFontTx/>
              <a:buChar char="-"/>
            </a:pPr>
            <a:r>
              <a:rPr lang="hu-HU" dirty="0">
                <a:solidFill>
                  <a:srgbClr val="404346"/>
                </a:solidFill>
              </a:rPr>
              <a:t>elindult, de folyamatos funkció bővítés</a:t>
            </a:r>
          </a:p>
          <a:p>
            <a:pPr marL="285750" indent="-285750">
              <a:buFontTx/>
              <a:buChar char="-"/>
            </a:pPr>
            <a:r>
              <a:rPr lang="hu-HU" dirty="0" err="1">
                <a:solidFill>
                  <a:srgbClr val="404346"/>
                </a:solidFill>
              </a:rPr>
              <a:t>Repont</a:t>
            </a:r>
            <a:r>
              <a:rPr lang="hu-HU" dirty="0">
                <a:solidFill>
                  <a:srgbClr val="404346"/>
                </a:solidFill>
              </a:rPr>
              <a:t> app</a:t>
            </a:r>
          </a:p>
          <a:p>
            <a:pPr algn="just" defTabSz="914240">
              <a:spcBef>
                <a:spcPts val="450"/>
              </a:spcBef>
              <a:buClr>
                <a:srgbClr val="1F497D">
                  <a:lumMod val="75000"/>
                </a:srgbClr>
              </a:buClr>
              <a:buSzPct val="100000"/>
              <a:defRPr/>
            </a:pPr>
            <a:endParaRPr lang="hu-HU" dirty="0">
              <a:solidFill>
                <a:srgbClr val="404346"/>
              </a:solidFill>
            </a:endParaRPr>
          </a:p>
          <a:p>
            <a:pPr algn="just" defTabSz="914240">
              <a:spcBef>
                <a:spcPts val="450"/>
              </a:spcBef>
              <a:buClr>
                <a:srgbClr val="1F497D">
                  <a:lumMod val="75000"/>
                </a:srgbClr>
              </a:buClr>
              <a:buSzPct val="100000"/>
              <a:defRPr/>
            </a:pPr>
            <a:r>
              <a:rPr lang="hu-HU" dirty="0">
                <a:solidFill>
                  <a:srgbClr val="404346"/>
                </a:solidFill>
              </a:rPr>
              <a:t>Termékregisztráció</a:t>
            </a:r>
          </a:p>
          <a:p>
            <a:pPr marL="285750" indent="-285750" algn="just" defTabSz="914240">
              <a:spcBef>
                <a:spcPts val="450"/>
              </a:spcBef>
              <a:buClr>
                <a:srgbClr val="1F497D">
                  <a:lumMod val="75000"/>
                </a:srgbClr>
              </a:buClr>
              <a:buSzPct val="100000"/>
              <a:buFontTx/>
              <a:buChar char="-"/>
              <a:defRPr/>
            </a:pPr>
            <a:r>
              <a:rPr lang="hu-HU" dirty="0">
                <a:solidFill>
                  <a:srgbClr val="404346"/>
                </a:solidFill>
              </a:rPr>
              <a:t>1200 aktív vonalkód, </a:t>
            </a:r>
            <a:r>
              <a:rPr lang="hu-HU" dirty="0" err="1">
                <a:solidFill>
                  <a:srgbClr val="404346"/>
                </a:solidFill>
              </a:rPr>
              <a:t>kb</a:t>
            </a:r>
            <a:r>
              <a:rPr lang="hu-HU" dirty="0">
                <a:solidFill>
                  <a:srgbClr val="404346"/>
                </a:solidFill>
              </a:rPr>
              <a:t> fele többutas</a:t>
            </a:r>
          </a:p>
          <a:p>
            <a:pPr marL="285750" indent="-285750" algn="just" defTabSz="914240">
              <a:spcBef>
                <a:spcPts val="450"/>
              </a:spcBef>
              <a:buClr>
                <a:srgbClr val="1F497D">
                  <a:lumMod val="75000"/>
                </a:srgbClr>
              </a:buClr>
              <a:buSzPct val="100000"/>
              <a:buFontTx/>
              <a:buChar char="-"/>
              <a:defRPr/>
            </a:pPr>
            <a:r>
              <a:rPr lang="hu-HU" dirty="0">
                <a:solidFill>
                  <a:srgbClr val="404346"/>
                </a:solidFill>
              </a:rPr>
              <a:t>További 3000 regisztráció alatt (/~25.000!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4537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 helye 6">
            <a:extLst>
              <a:ext uri="{FF2B5EF4-FFF2-40B4-BE49-F238E27FC236}">
                <a16:creationId xmlns:a16="http://schemas.microsoft.com/office/drawing/2014/main" id="{6FA798E1-AB82-DFE4-8B2F-0D1CACCA206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66020" y="2541926"/>
            <a:ext cx="5984971" cy="2084917"/>
          </a:xfrm>
        </p:spPr>
        <p:txBody>
          <a:bodyPr/>
          <a:lstStyle/>
          <a:p>
            <a:r>
              <a:rPr lang="hu-HU" dirty="0"/>
              <a:t>Köszönöm a figyelmet!</a:t>
            </a:r>
          </a:p>
        </p:txBody>
      </p:sp>
    </p:spTree>
    <p:extLst>
      <p:ext uri="{BB962C8B-B14F-4D97-AF65-F5344CB8AC3E}">
        <p14:creationId xmlns:p14="http://schemas.microsoft.com/office/powerpoint/2010/main" val="721278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090152-5599-597B-CF70-C72DA1F1BB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558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090152-5599-597B-CF70-C72DA1F1B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DRS háttér-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információk 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FADA679-7D92-49C7-AAC5-F64DBD15A66C}"/>
              </a:ext>
            </a:extLst>
          </p:cNvPr>
          <p:cNvSpPr txBox="1">
            <a:spLocks/>
          </p:cNvSpPr>
          <p:nvPr/>
        </p:nvSpPr>
        <p:spPr>
          <a:xfrm>
            <a:off x="4018498" y="677513"/>
            <a:ext cx="7966618" cy="429927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0" marR="0" lvl="0" indent="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hu-HU" b="1" dirty="0">
                <a:solidFill>
                  <a:srgbClr val="000000"/>
                </a:solidFill>
                <a:latin typeface="Karla" pitchFamily="2" charset="-18"/>
              </a:rPr>
              <a:t>Miért van szükség DRS-re? </a:t>
            </a:r>
            <a:endParaRPr kumimoji="0" lang="hu-HU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highlight>
                <a:srgbClr val="FFFF00"/>
              </a:highlight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L="0" marR="0" lvl="0" indent="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2" name="Téglalap: lekerekített 5">
            <a:extLst>
              <a:ext uri="{FF2B5EF4-FFF2-40B4-BE49-F238E27FC236}">
                <a16:creationId xmlns:a16="http://schemas.microsoft.com/office/drawing/2014/main" id="{B5583461-FCE3-36C4-FA3A-D3EB53106543}"/>
              </a:ext>
            </a:extLst>
          </p:cNvPr>
          <p:cNvSpPr/>
          <p:nvPr/>
        </p:nvSpPr>
        <p:spPr>
          <a:xfrm>
            <a:off x="4018498" y="1082766"/>
            <a:ext cx="7833868" cy="151384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tabLst/>
              <a:defRPr/>
            </a:pPr>
            <a:r>
              <a:rPr kumimoji="0" lang="hu-H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Kihívások: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Növekvő mennyiségű hulladék képződik, ami növekvő környezeti terheléssel jár.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Nincs motiváció a palackok összegyűjtésére (szelektív gyűjtéssel ~40% érhető el).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Pazarlás, mert értékes haszonanyag megy veszendőbe (hulladék nem szemét).</a:t>
            </a:r>
          </a:p>
          <a:p>
            <a:pPr marL="0" marR="0" lvl="0" indent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 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050" b="1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5" name="Téglalap: lekerekített 5">
            <a:extLst>
              <a:ext uri="{FF2B5EF4-FFF2-40B4-BE49-F238E27FC236}">
                <a16:creationId xmlns:a16="http://schemas.microsoft.com/office/drawing/2014/main" id="{96C22DB4-0C03-A953-42E3-6DC206F67E80}"/>
              </a:ext>
            </a:extLst>
          </p:cNvPr>
          <p:cNvSpPr/>
          <p:nvPr/>
        </p:nvSpPr>
        <p:spPr>
          <a:xfrm>
            <a:off x="4018498" y="2846961"/>
            <a:ext cx="7833867" cy="165175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lnSpc>
                <a:spcPct val="107000"/>
              </a:lnSpc>
              <a:spcAft>
                <a:spcPts val="800"/>
              </a:spcAft>
              <a:defRPr/>
            </a:pPr>
            <a:r>
              <a:rPr lang="hu-HU" sz="16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Megoldás: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Körforgásos gazdálkodás megvalósítása: ú</a:t>
            </a:r>
            <a:r>
              <a:rPr lang="hu-H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jrahasználat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, újrafeldolgozás, cél: </a:t>
            </a:r>
            <a:r>
              <a:rPr lang="hu-H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zero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 </a:t>
            </a:r>
            <a:r>
              <a:rPr lang="hu-HU" sz="14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waste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.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iterjesztett gyártói felelősségi rendszer bevezetése: a gyártó (első belföldi forgalomba hozó) kísérje végig a terméket az életcikluson, vállaljon nagyobb felelősséget és anyagi áldozatot a kezelésében. A rendszer finanszírozása gyártói díjakon keresztül történik. </a:t>
            </a:r>
            <a:endParaRPr lang="hu-HU" sz="1400" b="0" i="0" u="none" strike="noStrike" dirty="0">
              <a:solidFill>
                <a:prstClr val="black">
                  <a:lumMod val="75000"/>
                  <a:lumOff val="25000"/>
                </a:prstClr>
              </a:solidFill>
              <a:effectLst/>
              <a:latin typeface="Karla" pitchFamily="2" charset="-18"/>
              <a:cs typeface="Arial" pitchFamily="34" charset="0"/>
            </a:endParaRPr>
          </a:p>
          <a:p>
            <a:pPr marL="0" marR="0" lvl="0" indent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050" b="1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3" name="Téglalap: lekerekített 5">
            <a:extLst>
              <a:ext uri="{FF2B5EF4-FFF2-40B4-BE49-F238E27FC236}">
                <a16:creationId xmlns:a16="http://schemas.microsoft.com/office/drawing/2014/main" id="{7D961FE6-DBC8-6B85-42D0-4DABA97676F7}"/>
              </a:ext>
            </a:extLst>
          </p:cNvPr>
          <p:cNvSpPr/>
          <p:nvPr/>
        </p:nvSpPr>
        <p:spPr>
          <a:xfrm>
            <a:off x="4018497" y="4749074"/>
            <a:ext cx="7833868" cy="175622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b="0" i="0" u="none" strike="noStrike" dirty="0">
                <a:solidFill>
                  <a:srgbClr val="404346"/>
                </a:solidFill>
                <a:effectLst/>
                <a:latin typeface="Karla" pitchFamily="2" charset="-18"/>
              </a:rPr>
              <a:t>Magyarországon 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2023.07.01-jén lépett életbe az EPR. 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b="0" i="0" u="none" strike="noStrike" dirty="0">
                <a:solidFill>
                  <a:srgbClr val="404346"/>
                </a:solidFill>
                <a:effectLst/>
                <a:latin typeface="Karla" pitchFamily="2" charset="-18"/>
              </a:rPr>
              <a:t>A gyártók helyett a MOHU  és alvállalkozói valósítják meg a hulladékkezelési tevékenységeket a gyártók finanszírozásából (EPR díj).</a:t>
            </a:r>
            <a:r>
              <a:rPr lang="hu-HU" sz="1400" b="0" i="0" dirty="0">
                <a:solidFill>
                  <a:srgbClr val="404346"/>
                </a:solidFill>
                <a:effectLst/>
                <a:latin typeface="Karla" pitchFamily="2" charset="-18"/>
              </a:rPr>
              <a:t>​ Célértékek is a MOHU-n számon- kérhetők. 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A koncesszió 35 évre szól.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Az EPR 12 termékárama közül egyik a kötelezően visszaváltási díjas termékek köre, amely </a:t>
            </a:r>
            <a:r>
              <a:rPr lang="hu-HU" sz="1400" b="1" dirty="0">
                <a:solidFill>
                  <a:srgbClr val="404346"/>
                </a:solidFill>
                <a:latin typeface="Karla" pitchFamily="2" charset="-18"/>
              </a:rPr>
              <a:t>2024. január 1-től </a:t>
            </a:r>
            <a:r>
              <a:rPr lang="hu-HU" sz="1400" dirty="0">
                <a:solidFill>
                  <a:srgbClr val="404346"/>
                </a:solidFill>
                <a:latin typeface="Karla" pitchFamily="2" charset="-18"/>
              </a:rPr>
              <a:t>országos szinten kerül bevezetésre.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endParaRPr lang="hu-HU" sz="14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8449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F55E049-13E9-67E3-983A-AADA0E9A72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570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F55E049-13E9-67E3-983A-AADA0E9A7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DRS indulás  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2024.01.01.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8C5D7F-A5CC-1C50-B267-B5535E2C61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3980" y="677513"/>
            <a:ext cx="3299510" cy="263371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BF8CECB-BA64-A440-1A2B-E913FE9004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30790" y="3796906"/>
            <a:ext cx="3362277" cy="2461959"/>
          </a:xfrm>
          <a:prstGeom prst="rect">
            <a:avLst/>
          </a:prstGeom>
        </p:spPr>
      </p:pic>
      <p:sp>
        <p:nvSpPr>
          <p:cNvPr id="3" name="Téglalap: lekerekített 5">
            <a:extLst>
              <a:ext uri="{FF2B5EF4-FFF2-40B4-BE49-F238E27FC236}">
                <a16:creationId xmlns:a16="http://schemas.microsoft.com/office/drawing/2014/main" id="{75993649-2CE4-5843-C6C7-390B3CD54F57}"/>
              </a:ext>
            </a:extLst>
          </p:cNvPr>
          <p:cNvSpPr/>
          <p:nvPr/>
        </p:nvSpPr>
        <p:spPr>
          <a:xfrm>
            <a:off x="4027469" y="677512"/>
            <a:ext cx="4273675" cy="286666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just" defTabSz="91440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DRS-t  EU-s szabályozás hívta életre, EPR része;</a:t>
            </a:r>
          </a:p>
          <a:p>
            <a:pPr marL="285750" marR="0" lvl="0" indent="-285750" algn="just" defTabSz="91440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urópában </a:t>
            </a: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számos országban jól működik 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(van ahol több évtizedes múlttal). </a:t>
            </a:r>
          </a:p>
          <a:p>
            <a:pPr marL="285750" marR="0" lvl="0" indent="-285750" algn="just" defTabSz="914400" eaLnBrk="1" fontAlgn="auto" latinLnBrk="0" hangingPunct="1"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 következő években </a:t>
            </a: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további országokban kerül bevezetésre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 (pl. Portugália, Franciaország, Lengyelország, Szlovénia, Spanyolország, Anglia, Ausztria.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U-s rendelettervezet szerint 2029-től minden EU tagállamban be kellene vezetni, ahol 90% alatt van a visszagyűjtési arány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4" name="Téglalap: lekerekített 5">
            <a:extLst>
              <a:ext uri="{FF2B5EF4-FFF2-40B4-BE49-F238E27FC236}">
                <a16:creationId xmlns:a16="http://schemas.microsoft.com/office/drawing/2014/main" id="{C286A188-7B84-2EAF-7AFA-9F5D674D2B88}"/>
              </a:ext>
            </a:extLst>
          </p:cNvPr>
          <p:cNvSpPr/>
          <p:nvPr/>
        </p:nvSpPr>
        <p:spPr>
          <a:xfrm>
            <a:off x="7728981" y="3718528"/>
            <a:ext cx="4273675" cy="298707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marR="0" lvl="0" indent="-28575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Betétdíjas rendszerben jelenleg is működik palack visszaváltás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 a többutas palackokra (gyártói döntés alapján). </a:t>
            </a:r>
          </a:p>
          <a:p>
            <a:pPr marL="742950" marR="0" lvl="1" indent="-28575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üvegpalackok a vételárral együtt megfizetett betétdíj visszatérítése mellett visszaválthatók;</a:t>
            </a:r>
          </a:p>
          <a:p>
            <a:pPr marL="742950" marR="0" lvl="1" indent="-28575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Kereskedőkön keresztül a gyártókhoz visszajuttatva újra tölthetök. </a:t>
            </a:r>
          </a:p>
          <a:p>
            <a:pPr marL="285750" marR="0" lvl="0" indent="-285750" algn="just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z újratölthető palackoknál kialakult gyártói-kereskedői kapcsolatok nem változnak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. 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368D8F-908E-47D8-1E02-38721DF79FA9}"/>
              </a:ext>
            </a:extLst>
          </p:cNvPr>
          <p:cNvSpPr txBox="1"/>
          <p:nvPr/>
        </p:nvSpPr>
        <p:spPr>
          <a:xfrm>
            <a:off x="8389438" y="3174848"/>
            <a:ext cx="17242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100" i="1" dirty="0"/>
              <a:t>Forrás: DRS </a:t>
            </a:r>
            <a:r>
              <a:rPr lang="hu-HU" sz="1100" i="1" err="1"/>
              <a:t>Association</a:t>
            </a:r>
            <a:r>
              <a:rPr lang="hu-HU" sz="1100" i="1"/>
              <a:t> </a:t>
            </a:r>
            <a:r>
              <a:rPr lang="hu-HU"/>
              <a:t> 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14677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DRS indulás  </a:t>
            </a:r>
          </a:p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3600" dirty="0"/>
              <a:t>2024.01.01.</a:t>
            </a: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3" name="Téglalap: lekerekített 5">
            <a:extLst>
              <a:ext uri="{FF2B5EF4-FFF2-40B4-BE49-F238E27FC236}">
                <a16:creationId xmlns:a16="http://schemas.microsoft.com/office/drawing/2014/main" id="{187E63B9-1693-588C-BEE7-2EAB3A0F21D2}"/>
              </a:ext>
            </a:extLst>
          </p:cNvPr>
          <p:cNvSpPr/>
          <p:nvPr/>
        </p:nvSpPr>
        <p:spPr>
          <a:xfrm>
            <a:off x="4295710" y="1767841"/>
            <a:ext cx="7515498" cy="28912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Minden, a rendszerben érintett szereplő életében változást hoz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hu-HU" sz="1400" b="1" kern="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hu-HU" sz="1400" kern="0" dirty="0">
              <a:solidFill>
                <a:srgbClr val="404346"/>
              </a:solidFill>
              <a:latin typeface="Karla" pitchFamily="2" charset="-18"/>
            </a:endParaRPr>
          </a:p>
          <a:p>
            <a:pPr marL="285750" marR="0" lvl="0" indent="-285750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Jogszabályi környezetben már megtörtént (DRS rendelet);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 kereskedői kör napi folyamataiban;</a:t>
            </a:r>
          </a:p>
          <a:p>
            <a:pPr marL="285750" marR="0" lvl="0" indent="-285750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 gyártói kör kötelezettségeiben;</a:t>
            </a:r>
          </a:p>
          <a:p>
            <a:pPr marL="285750" marR="0" lvl="0" indent="-285750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 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MOHU (DRS operátor) </a:t>
            </a:r>
            <a:r>
              <a:rPr kumimoji="0" lang="hu-H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napi feladataiban;</a:t>
            </a: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 vásárlói szokásokban.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Karla" pitchFamily="2" charset="-18"/>
              <a:ea typeface="+mn-ea"/>
              <a:cs typeface="Arial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58632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63BEE2F-3647-1B36-F8E1-0D289B611E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1669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3BEE2F-3647-1B36-F8E1-0D289B611E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DRS Rendelet 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5FADA679-7D92-49C7-AAC5-F64DBD15A66C}"/>
              </a:ext>
            </a:extLst>
          </p:cNvPr>
          <p:cNvSpPr txBox="1">
            <a:spLocks/>
          </p:cNvSpPr>
          <p:nvPr/>
        </p:nvSpPr>
        <p:spPr>
          <a:xfrm>
            <a:off x="4018498" y="677513"/>
            <a:ext cx="7966618" cy="5653619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sz="1200" b="1" dirty="0">
                <a:solidFill>
                  <a:srgbClr val="000000"/>
                </a:solidFill>
                <a:latin typeface="Karla" pitchFamily="2" charset="-18"/>
              </a:rPr>
              <a:t> </a:t>
            </a:r>
            <a:endParaRPr kumimoji="0" lang="hu-H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3" name="Téglalap: lekerekített 5">
            <a:extLst>
              <a:ext uri="{FF2B5EF4-FFF2-40B4-BE49-F238E27FC236}">
                <a16:creationId xmlns:a16="http://schemas.microsoft.com/office/drawing/2014/main" id="{B0825CB6-DCA0-8908-403F-6D1F77F8FFCE}"/>
              </a:ext>
            </a:extLst>
          </p:cNvPr>
          <p:cNvSpPr/>
          <p:nvPr/>
        </p:nvSpPr>
        <p:spPr>
          <a:xfrm>
            <a:off x="4185406" y="824259"/>
            <a:ext cx="7953574" cy="565361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R="0" lvl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90000"/>
              <a:tabLst/>
              <a:defRPr/>
            </a:pP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ORMÁNYRENDELET (450/2023. (X.4.))</a:t>
            </a:r>
          </a:p>
          <a:p>
            <a:pPr marR="0" lvl="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90000"/>
              <a:tabLst/>
              <a:defRPr/>
            </a:pPr>
            <a:r>
              <a:rPr lang="hu-HU" sz="1400" b="1" u="sng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Főbb üzenetek: </a:t>
            </a:r>
          </a:p>
          <a:p>
            <a:pPr marL="285750" marR="0" lvl="0" indent="-285750" algn="l" defTabSz="91440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Rendszerindulás: </a:t>
            </a: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2024.01.01. </a:t>
            </a: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0000"/>
                </a:solidFill>
                <a:latin typeface="Karla" pitchFamily="2" charset="-18"/>
              </a:rPr>
              <a:t>Átmeneti időszak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: 2024. június 30-ig (lassú felfutás várható);</a:t>
            </a: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endParaRPr lang="hu-HU" sz="1400" b="1" dirty="0">
              <a:solidFill>
                <a:srgbClr val="000000"/>
              </a:solidFill>
              <a:latin typeface="Karla" pitchFamily="2" charset="-18"/>
            </a:endParaRP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0000"/>
                </a:solidFill>
                <a:latin typeface="Karla" pitchFamily="2" charset="-18"/>
              </a:rPr>
              <a:t>Kötelezően visszaváltási díjas termék: </a:t>
            </a: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Fogyasztásra kész vagy koncentrátum italtermék fogyasztói, közvetlen, </a:t>
            </a:r>
          </a:p>
          <a:p>
            <a:pPr marL="742950" lvl="1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műanyag, fém vagy üveg alapanyagú, </a:t>
            </a:r>
          </a:p>
          <a:p>
            <a:pPr marL="742950" lvl="1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palack vagy doboz formájú, </a:t>
            </a:r>
          </a:p>
          <a:p>
            <a:pPr marL="742950" lvl="1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nem </a:t>
            </a:r>
            <a:r>
              <a:rPr lang="hu-HU" sz="1400" dirty="0" err="1">
                <a:solidFill>
                  <a:srgbClr val="000000"/>
                </a:solidFill>
                <a:latin typeface="Karla" pitchFamily="2" charset="-18"/>
              </a:rPr>
              <a:t>újrahasználható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 vagy </a:t>
            </a:r>
            <a:r>
              <a:rPr lang="hu-HU" sz="1400" dirty="0" err="1">
                <a:solidFill>
                  <a:srgbClr val="000000"/>
                </a:solidFill>
                <a:latin typeface="Karla" pitchFamily="2" charset="-18"/>
              </a:rPr>
              <a:t>újrahasználható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 csomagolása, amely </a:t>
            </a:r>
          </a:p>
          <a:p>
            <a:pPr marL="742950" lvl="1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0,1–3 literig terjedő űrtartalommal bír. </a:t>
            </a:r>
          </a:p>
          <a:p>
            <a:pPr marL="742950" lvl="1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/>
              </a:rPr>
              <a:t>Kivétel: tej és tejalapú italtermék, csekély mennyiségű kibocsátók (+ speciális formájú palackok)</a:t>
            </a:r>
          </a:p>
          <a:p>
            <a:pPr>
              <a:lnSpc>
                <a:spcPct val="120000"/>
              </a:lnSpc>
              <a:buClr>
                <a:schemeClr val="tx1"/>
              </a:buClr>
              <a:buSzPct val="90000"/>
              <a:defRPr/>
            </a:pPr>
            <a:endParaRPr lang="hu-HU" sz="1400" b="1" dirty="0">
              <a:solidFill>
                <a:srgbClr val="000000"/>
              </a:solidFill>
              <a:latin typeface="Karla" pitchFamily="2" charset="-18"/>
            </a:endParaRPr>
          </a:p>
          <a:p>
            <a:pPr marL="171450" indent="-1714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0000"/>
                </a:solidFill>
                <a:latin typeface="Karla" pitchFamily="2" charset="-18"/>
              </a:rPr>
              <a:t>Kötelezetti kör: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 kereskedelmi egység eladótér mérete vagy népességszám alapján.</a:t>
            </a:r>
          </a:p>
          <a:p>
            <a:pPr marL="628650" lvl="1" indent="-1714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Önkéntes alapon lehetséges a csatlakozás. </a:t>
            </a:r>
          </a:p>
          <a:p>
            <a:pPr lvl="1">
              <a:lnSpc>
                <a:spcPct val="120000"/>
              </a:lnSpc>
              <a:buClr>
                <a:schemeClr val="tx1"/>
              </a:buClr>
              <a:buSzPct val="90000"/>
              <a:defRPr/>
            </a:pPr>
            <a:endParaRPr lang="hu-HU" sz="1400" dirty="0">
              <a:solidFill>
                <a:srgbClr val="000000"/>
              </a:solidFill>
              <a:latin typeface="Karla" pitchFamily="2" charset="-18"/>
            </a:endParaRP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0000"/>
                </a:solidFill>
                <a:latin typeface="Karla" pitchFamily="2" charset="-18"/>
              </a:rPr>
              <a:t>Visszaváltási módok: 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gépi vagy kézi.  </a:t>
            </a: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hu-HU" sz="1400" b="1" dirty="0">
                <a:solidFill>
                  <a:srgbClr val="000000"/>
                </a:solidFill>
                <a:latin typeface="Karla" pitchFamily="2" charset="-18"/>
              </a:rPr>
              <a:t>Visszatérítési módok:</a:t>
            </a:r>
            <a:r>
              <a:rPr lang="hu-HU" sz="1400" dirty="0">
                <a:solidFill>
                  <a:srgbClr val="000000"/>
                </a:solidFill>
                <a:latin typeface="Karla" pitchFamily="2" charset="-18"/>
              </a:rPr>
              <a:t> utalvány, azonnali megtérítés + jótékonysági felajánlás.</a:t>
            </a:r>
          </a:p>
          <a:p>
            <a:pPr marL="285750" indent="-285750">
              <a:lnSpc>
                <a:spcPct val="120000"/>
              </a:lnSpc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  <a:defRPr/>
            </a:pPr>
            <a:endParaRPr lang="hu-HU" sz="1200" dirty="0">
              <a:solidFill>
                <a:srgbClr val="000000"/>
              </a:solidFill>
              <a:latin typeface="Karla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1620535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BE7AA70-643D-28A1-FC6C-F764FD4BAE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18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E7AA70-643D-28A1-FC6C-F764FD4BAE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657750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Re-</a:t>
            </a:r>
            <a:r>
              <a:rPr lang="hu-HU" sz="3600" dirty="0"/>
              <a:t>P</a:t>
            </a: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ont hálózat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2" name="Téglalap: lekerekített 6">
            <a:extLst>
              <a:ext uri="{FF2B5EF4-FFF2-40B4-BE49-F238E27FC236}">
                <a16:creationId xmlns:a16="http://schemas.microsoft.com/office/drawing/2014/main" id="{86FE296E-73AC-45E9-9FDE-A1E98F8DDAFB}"/>
              </a:ext>
            </a:extLst>
          </p:cNvPr>
          <p:cNvSpPr/>
          <p:nvPr/>
        </p:nvSpPr>
        <p:spPr>
          <a:xfrm>
            <a:off x="4071518" y="1105783"/>
            <a:ext cx="7913597" cy="730295"/>
          </a:xfrm>
          <a:prstGeom prst="round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hu-HU" sz="1200" b="1" i="1">
                <a:solidFill>
                  <a:srgbClr val="000000"/>
                </a:solidFill>
                <a:latin typeface="Karla" pitchFamily="2" charset="-18"/>
              </a:rPr>
              <a:t>21. § (1) A koncessziós társaság a kötelezően visszaváltási díjas termék visszaváltása érdekében országos lefedettséggel visszaváltásihely-hálózatot alakít ki.</a:t>
            </a:r>
            <a:endParaRPr lang="hu-HU" sz="1200" b="1" i="1" dirty="0">
              <a:solidFill>
                <a:srgbClr val="000000"/>
              </a:solidFill>
              <a:latin typeface="Karla" pitchFamily="2" charset="-18"/>
            </a:endParaRPr>
          </a:p>
        </p:txBody>
      </p:sp>
      <p:sp>
        <p:nvSpPr>
          <p:cNvPr id="3" name="Content Placeholder 10">
            <a:extLst>
              <a:ext uri="{FF2B5EF4-FFF2-40B4-BE49-F238E27FC236}">
                <a16:creationId xmlns:a16="http://schemas.microsoft.com/office/drawing/2014/main" id="{C291D3C6-0AA9-EC09-5A70-41EA1AF80A07}"/>
              </a:ext>
            </a:extLst>
          </p:cNvPr>
          <p:cNvSpPr txBox="1">
            <a:spLocks/>
          </p:cNvSpPr>
          <p:nvPr/>
        </p:nvSpPr>
        <p:spPr>
          <a:xfrm>
            <a:off x="4071518" y="668915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kumimoji="0" lang="hu-HU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Visszaváltási hálózat (Re-Pont hálózat)</a:t>
            </a:r>
          </a:p>
          <a:p>
            <a:pPr marL="285750" marR="0" lvl="0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800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Téglalap: lekerekített 5">
            <a:extLst>
              <a:ext uri="{FF2B5EF4-FFF2-40B4-BE49-F238E27FC236}">
                <a16:creationId xmlns:a16="http://schemas.microsoft.com/office/drawing/2014/main" id="{36B422ED-0A98-BDE9-8915-2ADE7D28972F}"/>
              </a:ext>
            </a:extLst>
          </p:cNvPr>
          <p:cNvSpPr/>
          <p:nvPr/>
        </p:nvSpPr>
        <p:spPr>
          <a:xfrm>
            <a:off x="4071518" y="2113860"/>
            <a:ext cx="4686402" cy="234638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Forgalmazói kötelezettség: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400 m2-nél nagyobb eladótérrel rendelkező, élelmiszert értékesítő üzletben gépi (RVM ) úton történő visszaváltási lehetőséget kell biztosítani.</a:t>
            </a:r>
          </a:p>
          <a:p>
            <a:pPr algn="l"/>
            <a:endParaRPr lang="hu-HU" sz="1200" u="sng" kern="0" dirty="0">
              <a:solidFill>
                <a:srgbClr val="404346"/>
              </a:solidFill>
              <a:latin typeface="Karla" pitchFamily="2" charset="-18"/>
            </a:endParaRPr>
          </a:p>
          <a:p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</a:rPr>
              <a:t>MOHU kötelezettsé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1000 főnél nagyobb népességű településen visszaváltási hely kialakítását teszi lehetővé a forgalmazó részére vagy annak hiányában egyéb visszaváltási helyet biztosít.</a:t>
            </a:r>
            <a:endParaRPr lang="hu-HU" sz="1400" kern="0" dirty="0">
              <a:solidFill>
                <a:srgbClr val="404346"/>
              </a:solidFill>
              <a:latin typeface="Karla" pitchFamily="2" charset="-18"/>
              <a:sym typeface="Arial"/>
            </a:endParaRPr>
          </a:p>
        </p:txBody>
      </p:sp>
      <p:sp>
        <p:nvSpPr>
          <p:cNvPr id="5" name="Téglalap: lekerekített 5">
            <a:extLst>
              <a:ext uri="{FF2B5EF4-FFF2-40B4-BE49-F238E27FC236}">
                <a16:creationId xmlns:a16="http://schemas.microsoft.com/office/drawing/2014/main" id="{B124B1EA-1E19-47B9-3961-7112DD2C3CE8}"/>
              </a:ext>
            </a:extLst>
          </p:cNvPr>
          <p:cNvSpPr/>
          <p:nvPr/>
        </p:nvSpPr>
        <p:spPr>
          <a:xfrm>
            <a:off x="4071518" y="4623592"/>
            <a:ext cx="4686402" cy="162645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hu-HU" sz="1400" b="1" i="0" u="none" strike="noStrike" kern="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Arial"/>
              </a:rPr>
              <a:t>Önkéntes csatlakozók: </a:t>
            </a:r>
            <a:endParaRPr lang="hu-HU" sz="1400" b="1" kern="0" dirty="0">
              <a:solidFill>
                <a:srgbClr val="404346"/>
              </a:solidFill>
              <a:latin typeface="Karla" pitchFamily="2" charset="-18"/>
              <a:sym typeface="Arial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1400" kern="0">
                <a:solidFill>
                  <a:srgbClr val="404346"/>
                </a:solidFill>
                <a:latin typeface="Karla" pitchFamily="2" charset="-18"/>
              </a:rPr>
              <a:t>400 m2-nél kisebb </a:t>
            </a: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eladótérrel is lehet csatlakozni a rendszerhez,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Cél a kényelmes visszaváltás biztosítása,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1400" kern="0" dirty="0">
                <a:solidFill>
                  <a:srgbClr val="404346"/>
                </a:solidFill>
                <a:latin typeface="Karla" pitchFamily="2" charset="-18"/>
              </a:rPr>
              <a:t>Gépi vagy kézi visszaváltónak is jelentkezhetnek. </a:t>
            </a:r>
          </a:p>
        </p:txBody>
      </p:sp>
      <p:sp>
        <p:nvSpPr>
          <p:cNvPr id="6" name="Téglalap: lekerekített 17">
            <a:extLst>
              <a:ext uri="{FF2B5EF4-FFF2-40B4-BE49-F238E27FC236}">
                <a16:creationId xmlns:a16="http://schemas.microsoft.com/office/drawing/2014/main" id="{488832E0-4B97-669A-DEAD-1A46FD3E90DD}"/>
              </a:ext>
            </a:extLst>
          </p:cNvPr>
          <p:cNvSpPr/>
          <p:nvPr/>
        </p:nvSpPr>
        <p:spPr>
          <a:xfrm>
            <a:off x="8876155" y="2113861"/>
            <a:ext cx="2151428" cy="2989362"/>
          </a:xfrm>
          <a:prstGeom prst="roundRect">
            <a:avLst/>
          </a:prstGeom>
          <a:noFill/>
          <a:ln>
            <a:solidFill>
              <a:srgbClr val="C3A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just">
              <a:buClr>
                <a:srgbClr val="404346"/>
              </a:buClr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schemeClr val="tx1"/>
                </a:solidFill>
                <a:latin typeface="Karla" pitchFamily="2" charset="-18"/>
              </a:rPr>
              <a:t>A Re-Pont hálózathoz való csatlakozás bármely kategóriában regisztrációhoz és szerződéskötéshez kötött.</a:t>
            </a:r>
          </a:p>
          <a:p>
            <a:pPr marL="171450" indent="-171450" algn="just">
              <a:buClr>
                <a:srgbClr val="404346"/>
              </a:buClr>
              <a:buFont typeface="Arial" panose="020B0604020202020204" pitchFamily="34" charset="0"/>
              <a:buChar char="•"/>
              <a:defRPr/>
            </a:pPr>
            <a:endParaRPr lang="hu-HU" sz="1200" dirty="0">
              <a:solidFill>
                <a:schemeClr val="tx1"/>
              </a:solidFill>
              <a:latin typeface="Karla" pitchFamily="2" charset="-18"/>
            </a:endParaRPr>
          </a:p>
          <a:p>
            <a:pPr marL="171450" indent="-171450" algn="just">
              <a:buClr>
                <a:srgbClr val="404346"/>
              </a:buClr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schemeClr val="tx1"/>
                </a:solidFill>
                <a:latin typeface="Karla" pitchFamily="2" charset="-18"/>
              </a:rPr>
              <a:t>Regisztrációt a MOHU Partnerportálon lehet megtenni. </a:t>
            </a:r>
          </a:p>
          <a:p>
            <a:pPr marL="171450" indent="-171450" algn="just">
              <a:buClr>
                <a:srgbClr val="404346"/>
              </a:buClr>
              <a:buFont typeface="Arial" panose="020B0604020202020204" pitchFamily="34" charset="0"/>
              <a:buChar char="•"/>
              <a:defRPr/>
            </a:pPr>
            <a:endParaRPr lang="hu-HU" sz="1200" dirty="0">
              <a:solidFill>
                <a:schemeClr val="tx1"/>
              </a:solidFill>
              <a:latin typeface="Karla" pitchFamily="2" charset="-18"/>
            </a:endParaRPr>
          </a:p>
          <a:p>
            <a:pPr marL="171450" indent="-171450" algn="just">
              <a:buClr>
                <a:srgbClr val="404346"/>
              </a:buClr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schemeClr val="tx1"/>
                </a:solidFill>
                <a:latin typeface="Karla" pitchFamily="2" charset="-18"/>
              </a:rPr>
              <a:t>RVM-</a:t>
            </a:r>
            <a:r>
              <a:rPr lang="hu-HU" sz="1200" dirty="0" err="1">
                <a:solidFill>
                  <a:schemeClr val="tx1"/>
                </a:solidFill>
                <a:latin typeface="Karla" pitchFamily="2" charset="-18"/>
              </a:rPr>
              <a:t>et</a:t>
            </a:r>
            <a:r>
              <a:rPr lang="hu-HU" sz="1200" dirty="0">
                <a:solidFill>
                  <a:schemeClr val="tx1"/>
                </a:solidFill>
                <a:latin typeface="Karla" pitchFamily="2" charset="-18"/>
              </a:rPr>
              <a:t> a MOHU adja üzemeltetésbe, a hely kialakítása a kereskedő felelőssége. </a:t>
            </a:r>
          </a:p>
          <a:p>
            <a:pPr algn="just">
              <a:buClr>
                <a:srgbClr val="404346"/>
              </a:buClr>
              <a:defRPr/>
            </a:pPr>
            <a:endParaRPr lang="hu-HU" sz="1200" dirty="0">
              <a:solidFill>
                <a:schemeClr val="tx1"/>
              </a:solidFill>
              <a:latin typeface="Karla" pitchFamily="2" charset="-18"/>
            </a:endParaRP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EF42EA2B-49A1-5673-EFE4-94781AC1C3DB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876154" y="5257828"/>
            <a:ext cx="2151428" cy="931257"/>
          </a:xfrm>
          <a:prstGeom prst="roundRect">
            <a:avLst/>
          </a:prstGeom>
          <a:solidFill>
            <a:srgbClr val="C3A888"/>
          </a:solidFill>
          <a:ln w="9525" cmpd="sng">
            <a:solidFill>
              <a:schemeClr val="accent1"/>
            </a:solidFill>
            <a:prstDash val="solid"/>
          </a:ln>
        </p:spPr>
        <p:txBody>
          <a:bodyPr lIns="54000" tIns="54000" rIns="54000" bIns="54000" anchor="ctr">
            <a:noAutofit/>
          </a:bodyPr>
          <a:lstStyle>
            <a:defPPr>
              <a:defRPr lang="de-DE"/>
            </a:defPPr>
            <a:lvl1pPr indent="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</a:lvl1pPr>
            <a:lvl2pPr marL="188913" lvl="1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70000"/>
              <a:buFont typeface="Wingdings" panose="05000000000000000000" pitchFamily="2" charset="2"/>
              <a:buChar char=""/>
            </a:lvl2pPr>
            <a:lvl3pPr marL="379413" lvl="2" indent="-188913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–"/>
            </a:lvl3pPr>
            <a:lvl4pPr marL="571500" lvl="3" indent="-190500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"/>
            </a:lvl4pPr>
            <a:lvl5pPr marL="760413" lvl="4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–"/>
            </a:lvl5pPr>
            <a:lvl6pPr marL="12176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6pPr>
            <a:lvl7pPr marL="16748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7pPr>
            <a:lvl8pPr marL="21320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8pPr>
            <a:lvl9pPr marL="2589213" indent="-187325" defTabSz="857250" fontAlgn="base">
              <a:spcBef>
                <a:spcPct val="40000"/>
              </a:spcBef>
              <a:spcAft>
                <a:spcPct val="0"/>
              </a:spcAft>
              <a:buClr>
                <a:schemeClr val="accent1"/>
              </a:buClr>
              <a:buChar char="•"/>
            </a:lvl9pPr>
          </a:lstStyle>
          <a:p>
            <a:pPr algn="ctr"/>
            <a:r>
              <a:rPr lang="hu-HU" sz="1000" b="1" dirty="0">
                <a:solidFill>
                  <a:schemeClr val="bg1"/>
                </a:solidFill>
                <a:latin typeface="Karla" pitchFamily="2" charset="-18"/>
              </a:rPr>
              <a:t>Regisztrációkat 2024-ben is várjuk kézi és gépi visszaváltásra is. 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7393E9-D753-F8D8-9C36-C650DFB30A4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45816" y="2113859"/>
            <a:ext cx="892320" cy="4075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019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C32AD3B-E9C2-47EE-9B22-841A6B2E91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62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32AD3B-E9C2-47EE-9B22-841A6B2E91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Visszaváltási módok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2" name="Téglalap: lekerekített 6">
            <a:extLst>
              <a:ext uri="{FF2B5EF4-FFF2-40B4-BE49-F238E27FC236}">
                <a16:creationId xmlns:a16="http://schemas.microsoft.com/office/drawing/2014/main" id="{578FEFD3-17B9-A4D8-B991-277B912EAAED}"/>
              </a:ext>
            </a:extLst>
          </p:cNvPr>
          <p:cNvSpPr/>
          <p:nvPr/>
        </p:nvSpPr>
        <p:spPr>
          <a:xfrm>
            <a:off x="4071519" y="1203203"/>
            <a:ext cx="7864637" cy="554478"/>
          </a:xfrm>
          <a:prstGeom prst="round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hu-HU" sz="1100" b="1" i="1" dirty="0">
                <a:solidFill>
                  <a:srgbClr val="000000"/>
                </a:solidFill>
                <a:latin typeface="Karla" pitchFamily="2" charset="-18"/>
              </a:rPr>
              <a:t>21. § (2) A koncessziós társaság automata visszaváltó berendezéssel, illetve kézi átvétellel történő visszaváltási lehetőséget biztosít.</a:t>
            </a:r>
          </a:p>
        </p:txBody>
      </p:sp>
      <p:sp>
        <p:nvSpPr>
          <p:cNvPr id="3" name="Content Placeholder 10">
            <a:extLst>
              <a:ext uri="{FF2B5EF4-FFF2-40B4-BE49-F238E27FC236}">
                <a16:creationId xmlns:a16="http://schemas.microsoft.com/office/drawing/2014/main" id="{BFB168CC-65E3-4AD4-D15E-57B13F5E0BC0}"/>
              </a:ext>
            </a:extLst>
          </p:cNvPr>
          <p:cNvSpPr txBox="1">
            <a:spLocks/>
          </p:cNvSpPr>
          <p:nvPr/>
        </p:nvSpPr>
        <p:spPr>
          <a:xfrm>
            <a:off x="4071518" y="668915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b="1" dirty="0">
                <a:solidFill>
                  <a:srgbClr val="000000"/>
                </a:solidFill>
                <a:latin typeface="Karla" pitchFamily="2" charset="-18"/>
              </a:rPr>
              <a:t>Visszaváltási módok</a:t>
            </a:r>
            <a:endParaRPr kumimoji="0" lang="hu-HU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285750" marR="0" lvl="0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800" dirty="0">
              <a:solidFill>
                <a:prstClr val="black">
                  <a:lumMod val="75000"/>
                  <a:lumOff val="25000"/>
                </a:prstClr>
              </a:solidFill>
              <a:highlight>
                <a:srgbClr val="FFFF00"/>
              </a:highlight>
              <a:latin typeface="Karla" pitchFamily="2" charset="-18"/>
              <a:cs typeface="Arial" pitchFamily="34" charset="0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Téglalap: lekerekített 5">
            <a:extLst>
              <a:ext uri="{FF2B5EF4-FFF2-40B4-BE49-F238E27FC236}">
                <a16:creationId xmlns:a16="http://schemas.microsoft.com/office/drawing/2014/main" id="{47C26009-3929-C288-D359-AA3BBFA1F303}"/>
              </a:ext>
            </a:extLst>
          </p:cNvPr>
          <p:cNvSpPr/>
          <p:nvPr/>
        </p:nvSpPr>
        <p:spPr>
          <a:xfrm>
            <a:off x="5809926" y="1890528"/>
            <a:ext cx="6175190" cy="195866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Gépi visszaváltás -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utomata segítségével váltják vissza a palackokat.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Palackot alaktartó formában kell visszavinni! (Ne tapossa laposra!)</a:t>
            </a: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ét típus: önállóan álló gépek vagy beépített gépek;</a:t>
            </a: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utomata roncsol, kompaktál, perforál. </a:t>
            </a: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Beltéri körülmények közti üzemeltetés!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iválasztás alapja a DRS termékek forgalma anyagáramonként, tárolási kapacitás, RVM helyigénye.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sp>
        <p:nvSpPr>
          <p:cNvPr id="5" name="Téglalap: lekerekített 5">
            <a:extLst>
              <a:ext uri="{FF2B5EF4-FFF2-40B4-BE49-F238E27FC236}">
                <a16:creationId xmlns:a16="http://schemas.microsoft.com/office/drawing/2014/main" id="{6FB5D104-F6AC-2E1E-38AD-4C99E4463481}"/>
              </a:ext>
            </a:extLst>
          </p:cNvPr>
          <p:cNvSpPr/>
          <p:nvPr/>
        </p:nvSpPr>
        <p:spPr>
          <a:xfrm>
            <a:off x="5809926" y="4032257"/>
            <a:ext cx="4283308" cy="26022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hu-HU" sz="1400" b="1" kern="0" dirty="0">
                <a:solidFill>
                  <a:srgbClr val="404346"/>
                </a:solidFill>
                <a:latin typeface="Karla" pitchFamily="2" charset="-18"/>
                <a:sym typeface="Arial"/>
              </a:rPr>
              <a:t>Manuális visszaváltás -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ézi úton, applikáció segítségével váltja vissza a palackokat;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Az elszállításig ép állapotban kell megőrizni;</a:t>
            </a:r>
          </a:p>
          <a:p>
            <a:pPr marL="742950" lvl="1" indent="-2857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hu-HU" sz="1200" i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lvárt puffermennyiség: 1000 darab palack;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iszolgálás mobil RVM szolgáltatással;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Visszaváltási díj azonnali megtérítése mobil RVM-be konszolidáláskor. </a:t>
            </a:r>
          </a:p>
          <a:p>
            <a:pPr marR="0" lvl="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4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hu-HU" sz="1400" b="1" i="0" u="none" strike="noStrike" kern="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Karla" pitchFamily="2" charset="-18"/>
              <a:ea typeface="+mn-ea"/>
              <a:cs typeface="+mn-cs"/>
              <a:sym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8DC549A-72A0-424B-5379-04F97F07E1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7424" y="1890528"/>
            <a:ext cx="1666982" cy="4743953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3A5BF855-F7F8-DBA6-8A4A-64FC950EEF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53110" y="4230426"/>
            <a:ext cx="2085026" cy="1958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530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6EE1617-F002-6872-4948-2D27EF7AB8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25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EE1617-F002-6872-4948-2D27EF7AB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23A58148-D452-4F6F-A2FE-EED968DE19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386463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B110CED-D0E5-488E-ABAD-DC728D250115}"/>
              </a:ext>
            </a:extLst>
          </p:cNvPr>
          <p:cNvSpPr txBox="1">
            <a:spLocks/>
          </p:cNvSpPr>
          <p:nvPr/>
        </p:nvSpPr>
        <p:spPr>
          <a:xfrm>
            <a:off x="206884" y="3043678"/>
            <a:ext cx="3521836" cy="9970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4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srgbClr val="404346"/>
                </a:solidFill>
                <a:effectLst/>
                <a:uLnTx/>
                <a:uFillTx/>
                <a:latin typeface="Ubuntu" panose="020B0804030602030204" pitchFamily="34" charset="0"/>
                <a:ea typeface="+mj-ea"/>
                <a:cs typeface="+mj-cs"/>
              </a:rPr>
              <a:t>Üzemeltetés</a:t>
            </a:r>
          </a:p>
          <a:p>
            <a:pPr marL="0" marR="0" lvl="0" indent="0" algn="l" defTabSz="121917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srgbClr val="404346"/>
              </a:solidFill>
              <a:effectLst/>
              <a:uLnTx/>
              <a:uFillTx/>
              <a:latin typeface="Ubuntu" panose="020B0804030602030204" pitchFamily="34" charset="0"/>
              <a:ea typeface="+mj-ea"/>
              <a:cs typeface="+mj-cs"/>
            </a:endParaRP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6BFE6BB3-53E1-452D-A37D-13FB014446D3}"/>
              </a:ext>
            </a:extLst>
          </p:cNvPr>
          <p:cNvSpPr txBox="1">
            <a:spLocks/>
          </p:cNvSpPr>
          <p:nvPr/>
        </p:nvSpPr>
        <p:spPr>
          <a:xfrm>
            <a:off x="206883" y="311330"/>
            <a:ext cx="2743200" cy="366183"/>
          </a:xfrm>
          <a:prstGeom prst="rect">
            <a:avLst/>
          </a:prstGeom>
        </p:spPr>
        <p:txBody>
          <a:bodyPr/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CEA9A6-CB0C-B044-A678-37DF3C0EF6F8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</a:rPr>
              <a:t> </a:t>
            </a:r>
            <a:r>
              <a:rPr kumimoji="0" lang="hu-HU" sz="1200" b="0" i="0" u="none" strike="noStrike" kern="1200" cap="none" spc="0" normalizeH="0" baseline="0" noProof="0">
                <a:ln>
                  <a:noFill/>
                </a:ln>
                <a:solidFill>
                  <a:srgbClr val="DDDE59"/>
                </a:solidFill>
                <a:effectLst/>
                <a:uLnTx/>
                <a:uFillTx/>
                <a:latin typeface="Karla" pitchFamily="2" charset="-18"/>
                <a:ea typeface="+mn-ea"/>
                <a:cs typeface="+mn-cs"/>
                <a:sym typeface="Karla"/>
              </a:rPr>
              <a:t>|</a:t>
            </a: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</p:txBody>
      </p:sp>
      <p:sp>
        <p:nvSpPr>
          <p:cNvPr id="2" name="Téglalap: lekerekített 5">
            <a:extLst>
              <a:ext uri="{FF2B5EF4-FFF2-40B4-BE49-F238E27FC236}">
                <a16:creationId xmlns:a16="http://schemas.microsoft.com/office/drawing/2014/main" id="{89B3C17E-8EAC-BFE2-C491-495276B9BFE1}"/>
              </a:ext>
            </a:extLst>
          </p:cNvPr>
          <p:cNvSpPr/>
          <p:nvPr/>
        </p:nvSpPr>
        <p:spPr>
          <a:xfrm>
            <a:off x="4071517" y="2986037"/>
            <a:ext cx="7966618" cy="23214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RVM üzemeltetési feladatok: 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rősáramú hálózati betáplálás biztosítása,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Internetkapcsolat biztosítása (LAN vagy annak hiányában modemes kapcsolat),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abinetek ürítése a telítődés alapján, </a:t>
            </a:r>
            <a:r>
              <a:rPr lang="hu-HU" sz="12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voucher</a:t>
            </a: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 szalag csere, </a:t>
            </a:r>
          </a:p>
          <a:p>
            <a:pPr marL="285750" indent="-285750" algn="just" defTabSz="1218987">
              <a:spcBef>
                <a:spcPts val="600"/>
              </a:spcBef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Napi szintű tisztítás (k</a:t>
            </a:r>
            <a:r>
              <a:rPr kumimoji="0" lang="hu-H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abinetek</a:t>
            </a:r>
            <a:r>
              <a:rPr kumimoji="0" lang="hu-H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Karla" pitchFamily="2" charset="-18"/>
                <a:ea typeface="+mn-ea"/>
                <a:cs typeface="Arial" pitchFamily="34" charset="0"/>
              </a:rPr>
              <a:t>, bedobó nyílások, szállítószalag, tárolóedény terület, Kijelző, EAN kód olvasók), </a:t>
            </a:r>
            <a:endParaRPr lang="hu-HU" sz="12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Egyszerűbb technikai hibák helyszíni vagy telefonos segítséggel történő elhárítása, 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Gép meghibásodása esetén kézi úton biztosítani a visszavételt. </a:t>
            </a:r>
            <a:endParaRPr lang="hu-HU" sz="1200" b="1" kern="0" dirty="0">
              <a:solidFill>
                <a:srgbClr val="404346"/>
              </a:solidFill>
              <a:latin typeface="Karla" pitchFamily="2" charset="-18"/>
              <a:sym typeface="Arial"/>
            </a:endParaRP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  <p:sp>
        <p:nvSpPr>
          <p:cNvPr id="3" name="Téglalap: lekerekített 6">
            <a:extLst>
              <a:ext uri="{FF2B5EF4-FFF2-40B4-BE49-F238E27FC236}">
                <a16:creationId xmlns:a16="http://schemas.microsoft.com/office/drawing/2014/main" id="{C21C8AEE-72D5-94F4-E308-A3465D06D721}"/>
              </a:ext>
            </a:extLst>
          </p:cNvPr>
          <p:cNvSpPr/>
          <p:nvPr/>
        </p:nvSpPr>
        <p:spPr>
          <a:xfrm>
            <a:off x="4071518" y="1143979"/>
            <a:ext cx="7864637" cy="589028"/>
          </a:xfrm>
          <a:prstGeom prst="round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hu-HU" sz="1100" b="1" i="1" dirty="0">
                <a:solidFill>
                  <a:srgbClr val="000000"/>
                </a:solidFill>
                <a:latin typeface="Karla" pitchFamily="2" charset="-18"/>
              </a:rPr>
              <a:t>14. § (1) A forgalmazó a kötelezően visszaváltási díjas termék visszaváltása érdekében az automata visszaváltó</a:t>
            </a:r>
          </a:p>
          <a:p>
            <a:pPr algn="l"/>
            <a:r>
              <a:rPr lang="hu-HU" sz="1100" b="1" i="1" dirty="0">
                <a:solidFill>
                  <a:srgbClr val="000000"/>
                </a:solidFill>
                <a:latin typeface="Karla" pitchFamily="2" charset="-18"/>
              </a:rPr>
              <a:t>berendezéseket működteti, valamint a működtetésükhöz szükséges technikai feltételeket biztosítja.</a:t>
            </a:r>
          </a:p>
        </p:txBody>
      </p:sp>
      <p:sp>
        <p:nvSpPr>
          <p:cNvPr id="4" name="Content Placeholder 10">
            <a:extLst>
              <a:ext uri="{FF2B5EF4-FFF2-40B4-BE49-F238E27FC236}">
                <a16:creationId xmlns:a16="http://schemas.microsoft.com/office/drawing/2014/main" id="{DCB48C44-A74D-A66B-AF25-4B46868CEE3D}"/>
              </a:ext>
            </a:extLst>
          </p:cNvPr>
          <p:cNvSpPr txBox="1">
            <a:spLocks/>
          </p:cNvSpPr>
          <p:nvPr/>
        </p:nvSpPr>
        <p:spPr>
          <a:xfrm>
            <a:off x="4071518" y="661787"/>
            <a:ext cx="7966618" cy="353681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r>
              <a:rPr lang="hu-HU" b="1" dirty="0">
                <a:solidFill>
                  <a:srgbClr val="000000"/>
                </a:solidFill>
                <a:latin typeface="Karla" pitchFamily="2" charset="-18"/>
              </a:rPr>
              <a:t>Üzemeltetés</a:t>
            </a:r>
            <a:endParaRPr kumimoji="0" lang="hu-HU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285750" marR="0" lvl="0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0" marR="0" lvl="0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lang="hu-HU" sz="1100" b="1" i="1" dirty="0">
              <a:solidFill>
                <a:srgbClr val="000000"/>
              </a:solidFill>
              <a:latin typeface="Karla" pitchFamily="2" charset="-18"/>
            </a:endParaRPr>
          </a:p>
          <a:p>
            <a:pPr marL="742950" marR="0" lvl="1" indent="-28575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hu-H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Karla" pitchFamily="2" charset="-18"/>
              <a:ea typeface="+mn-ea"/>
              <a:cs typeface="+mn-cs"/>
            </a:endParaRPr>
          </a:p>
          <a:p>
            <a:pPr marL="457200" marR="0" lvl="1" indent="0" algn="l" defTabSz="1218987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Tx/>
              <a:buNone/>
              <a:tabLst/>
              <a:defRPr/>
            </a:pP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Téglalap: lekerekített 5">
            <a:extLst>
              <a:ext uri="{FF2B5EF4-FFF2-40B4-BE49-F238E27FC236}">
                <a16:creationId xmlns:a16="http://schemas.microsoft.com/office/drawing/2014/main" id="{94F8B168-EC28-1125-5C1B-B1F1E70FBD87}"/>
              </a:ext>
            </a:extLst>
          </p:cNvPr>
          <p:cNvSpPr/>
          <p:nvPr/>
        </p:nvSpPr>
        <p:spPr>
          <a:xfrm>
            <a:off x="4071518" y="1861518"/>
            <a:ext cx="7864637" cy="8990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Visszaváltási feladatok: 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ötelezően visszaváltási díjas termékek visszavétele,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Utalványok megtérítése a vásárlók részére. </a:t>
            </a: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  <p:sp>
        <p:nvSpPr>
          <p:cNvPr id="14" name="Téglalap: lekerekített 5">
            <a:extLst>
              <a:ext uri="{FF2B5EF4-FFF2-40B4-BE49-F238E27FC236}">
                <a16:creationId xmlns:a16="http://schemas.microsoft.com/office/drawing/2014/main" id="{58CF50FB-70F3-F29F-C6BF-AC9671FE389A}"/>
              </a:ext>
            </a:extLst>
          </p:cNvPr>
          <p:cNvSpPr/>
          <p:nvPr/>
        </p:nvSpPr>
        <p:spPr>
          <a:xfrm>
            <a:off x="4071517" y="5532950"/>
            <a:ext cx="7864637" cy="89909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R="0" lvl="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tabLst/>
              <a:defRPr/>
            </a:pPr>
            <a:r>
              <a:rPr lang="hu-H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Tárolási feladatok: 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Hulladék tárolása elszállításig,</a:t>
            </a: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hu-HU" sz="120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Karla" pitchFamily="2" charset="-18"/>
                <a:cs typeface="Arial" pitchFamily="34" charset="0"/>
              </a:rPr>
              <a:t>Közreműködés a hulladék átadásában. </a:t>
            </a:r>
            <a:endParaRPr lang="hu-HU" sz="1200" kern="0" dirty="0">
              <a:solidFill>
                <a:srgbClr val="404346"/>
              </a:solidFill>
              <a:latin typeface="Karla" pitchFamily="2" charset="-18"/>
              <a:cs typeface="Arial" pitchFamily="34" charset="0"/>
            </a:endParaRPr>
          </a:p>
          <a:p>
            <a:pPr marL="285750" marR="0" lvl="0" indent="-285750" algn="just" defTabSz="1218987" eaLnBrk="1" fontAlgn="auto" latinLnBrk="0" hangingPunct="1">
              <a:spcBef>
                <a:spcPts val="600"/>
              </a:spcBef>
              <a:spcAft>
                <a:spcPts val="0"/>
              </a:spcAft>
              <a:buClr>
                <a:srgbClr val="1F497D">
                  <a:lumMod val="75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lang="hu-HU" sz="1200" dirty="0">
              <a:solidFill>
                <a:prstClr val="black">
                  <a:lumMod val="75000"/>
                  <a:lumOff val="25000"/>
                </a:prstClr>
              </a:solidFill>
              <a:latin typeface="Karla" pitchFamily="2" charset="-1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972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églalap: lekerekített 18">
            <a:extLst>
              <a:ext uri="{FF2B5EF4-FFF2-40B4-BE49-F238E27FC236}">
                <a16:creationId xmlns:a16="http://schemas.microsoft.com/office/drawing/2014/main" id="{FBB09B43-2E31-4F1C-9F51-1970693F9E64}"/>
              </a:ext>
            </a:extLst>
          </p:cNvPr>
          <p:cNvSpPr/>
          <p:nvPr/>
        </p:nvSpPr>
        <p:spPr>
          <a:xfrm>
            <a:off x="1134665" y="905698"/>
            <a:ext cx="3605971" cy="1539937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44ED2887-64F4-4941-87E7-0AB380A9DA2D}"/>
              </a:ext>
            </a:extLst>
          </p:cNvPr>
          <p:cNvSpPr/>
          <p:nvPr/>
        </p:nvSpPr>
        <p:spPr>
          <a:xfrm>
            <a:off x="475786" y="267630"/>
            <a:ext cx="2349191" cy="446049"/>
          </a:xfrm>
          <a:prstGeom prst="rect">
            <a:avLst/>
          </a:prstGeom>
          <a:solidFill>
            <a:srgbClr val="DD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E59D29-4BE4-FC08-02E4-F40BFDC1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0831" y="1677395"/>
            <a:ext cx="3372888" cy="536888"/>
          </a:xfrm>
        </p:spPr>
        <p:txBody>
          <a:bodyPr/>
          <a:lstStyle/>
          <a:p>
            <a:pPr algn="ctr"/>
            <a:r>
              <a:rPr lang="hu-HU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öbbutas italtermék </a:t>
            </a:r>
            <a:br>
              <a:rPr lang="hu-HU" sz="2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hu-HU" sz="2400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palackozó veszi vissza </a:t>
            </a:r>
            <a:r>
              <a:rPr lang="hu-HU" sz="2400" i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újratöltési</a:t>
            </a:r>
            <a:r>
              <a:rPr lang="hu-HU" sz="2400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céllal)</a:t>
            </a:r>
            <a:br>
              <a:rPr lang="hu-HU" sz="2400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AU" sz="2400" i="1" dirty="0">
              <a:solidFill>
                <a:schemeClr val="bg1"/>
              </a:solidFill>
              <a:latin typeface="Ubuntu" panose="020B0604020202020204" charset="0"/>
            </a:endParaRPr>
          </a:p>
        </p:txBody>
      </p:sp>
      <p:sp>
        <p:nvSpPr>
          <p:cNvPr id="21" name="Szövegdoboz 20">
            <a:extLst>
              <a:ext uri="{FF2B5EF4-FFF2-40B4-BE49-F238E27FC236}">
                <a16:creationId xmlns:a16="http://schemas.microsoft.com/office/drawing/2014/main" id="{DBA66C7F-8911-430D-88A5-2657F367CBF9}"/>
              </a:ext>
            </a:extLst>
          </p:cNvPr>
          <p:cNvSpPr txBox="1"/>
          <p:nvPr/>
        </p:nvSpPr>
        <p:spPr>
          <a:xfrm>
            <a:off x="342901" y="99904"/>
            <a:ext cx="9611598" cy="680314"/>
          </a:xfrm>
          <a:prstGeom prst="rect">
            <a:avLst/>
          </a:prstGeom>
          <a:solidFill>
            <a:srgbClr val="DDDE59"/>
          </a:solidFill>
        </p:spPr>
        <p:txBody>
          <a:bodyPr wrap="square">
            <a:spAutoFit/>
          </a:bodyPr>
          <a:lstStyle/>
          <a:p>
            <a:pPr defTabSz="1219170">
              <a:lnSpc>
                <a:spcPct val="114000"/>
              </a:lnSpc>
              <a:buClr>
                <a:srgbClr val="E3071A"/>
              </a:buClr>
              <a:buSzPct val="60000"/>
              <a:defRPr/>
            </a:pPr>
            <a:r>
              <a:rPr lang="hu-HU" sz="3733" b="1" kern="1200" dirty="0">
                <a:solidFill>
                  <a:srgbClr val="404346"/>
                </a:solidFill>
                <a:latin typeface="Ubuntu" panose="020B0604020202020204" charset="0"/>
                <a:ea typeface="Arial Unicode MS" panose="020B0604020202020204" pitchFamily="34" charset="-128"/>
                <a:cs typeface="Arial" panose="020B0604020202020204" pitchFamily="34" charset="0"/>
              </a:rPr>
              <a:t>DRS rendszer a HORECA szektorban</a:t>
            </a:r>
            <a:endParaRPr lang="en-US" sz="3733" b="1" kern="1200" dirty="0">
              <a:solidFill>
                <a:srgbClr val="404346"/>
              </a:solidFill>
              <a:latin typeface="Ubuntu" panose="020B060402020202020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4" name="Téglalap: lekerekített 3">
            <a:extLst>
              <a:ext uri="{FF2B5EF4-FFF2-40B4-BE49-F238E27FC236}">
                <a16:creationId xmlns:a16="http://schemas.microsoft.com/office/drawing/2014/main" id="{63C813AC-8C90-8463-9043-B58E352FDBCC}"/>
              </a:ext>
            </a:extLst>
          </p:cNvPr>
          <p:cNvSpPr/>
          <p:nvPr/>
        </p:nvSpPr>
        <p:spPr>
          <a:xfrm>
            <a:off x="6956612" y="818137"/>
            <a:ext cx="4327192" cy="1646299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1E9D731-A16D-E24D-4E39-3F00AFAAD069}"/>
              </a:ext>
            </a:extLst>
          </p:cNvPr>
          <p:cNvSpPr txBox="1">
            <a:spLocks/>
          </p:cNvSpPr>
          <p:nvPr/>
        </p:nvSpPr>
        <p:spPr>
          <a:xfrm>
            <a:off x="7431743" y="1677395"/>
            <a:ext cx="3372888" cy="5368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algn="ctr">
              <a:buClrTx/>
              <a:buFontTx/>
            </a:pPr>
            <a:r>
              <a:rPr lang="hu-HU" sz="2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Egyutas italtermék</a:t>
            </a:r>
          </a:p>
          <a:p>
            <a:pPr algn="ctr">
              <a:buClrTx/>
              <a:buFontTx/>
            </a:pPr>
            <a:r>
              <a:rPr lang="hu-HU" sz="2400" i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visszaváltó pont üzemeltetők/MOHU veszi át hulladékként) </a:t>
            </a:r>
            <a:br>
              <a:rPr lang="hu-HU" sz="24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AU" sz="2400">
              <a:solidFill>
                <a:schemeClr val="bg1"/>
              </a:solidFill>
              <a:latin typeface="Ubuntu" panose="020B060402020202020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3889F94-9CF9-B296-A42A-0AF95A03DC33}"/>
              </a:ext>
            </a:extLst>
          </p:cNvPr>
          <p:cNvSpPr txBox="1">
            <a:spLocks/>
          </p:cNvSpPr>
          <p:nvPr/>
        </p:nvSpPr>
        <p:spPr>
          <a:xfrm>
            <a:off x="139317" y="4303263"/>
            <a:ext cx="5285356" cy="5368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rgbClr val="404346"/>
                </a:solidFill>
                <a:latin typeface="Ubuntu" panose="020B0804030602030204" pitchFamily="34" charset="0"/>
                <a:ea typeface="+mj-ea"/>
                <a:cs typeface="+mj-cs"/>
              </a:defRPr>
            </a:lvl1pPr>
          </a:lstStyle>
          <a:p>
            <a:pPr marL="228594" indent="-228594" algn="ctr">
              <a:buClrTx/>
              <a:buFont typeface="Arial" panose="020B0604020202020204" pitchFamily="34" charset="0"/>
              <a:buChar char="•"/>
            </a:pPr>
            <a:r>
              <a:rPr lang="hu-HU" sz="16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A korábbi rendszer szerint a gyártó visszaveszi a termékek csomagolását és megfizeti a betét díjat a HORECA-</a:t>
            </a:r>
            <a:r>
              <a:rPr lang="hu-HU" sz="160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nak</a:t>
            </a:r>
            <a:r>
              <a:rPr lang="hu-HU" sz="160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. </a:t>
            </a:r>
            <a:br>
              <a:rPr lang="hu-HU" sz="240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en-AU" sz="2400">
              <a:solidFill>
                <a:schemeClr val="bg1"/>
              </a:solidFill>
              <a:latin typeface="Ubuntu" panose="020B0604020202020204" charset="0"/>
            </a:endParaRPr>
          </a:p>
        </p:txBody>
      </p:sp>
      <p:sp>
        <p:nvSpPr>
          <p:cNvPr id="8" name="Téglalap: lekerekített 7">
            <a:extLst>
              <a:ext uri="{FF2B5EF4-FFF2-40B4-BE49-F238E27FC236}">
                <a16:creationId xmlns:a16="http://schemas.microsoft.com/office/drawing/2014/main" id="{69D0209B-829B-FD88-C3FC-2F8A674D9B01}"/>
              </a:ext>
            </a:extLst>
          </p:cNvPr>
          <p:cNvSpPr/>
          <p:nvPr/>
        </p:nvSpPr>
        <p:spPr>
          <a:xfrm>
            <a:off x="6099131" y="2875887"/>
            <a:ext cx="2831346" cy="1063175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533">
                <a:solidFill>
                  <a:schemeClr val="bg1"/>
                </a:solidFill>
                <a:latin typeface="Calibri" panose="020F0502020204030204" pitchFamily="34" charset="0"/>
              </a:rPr>
              <a:t>A HORECA a „fogyasztó”.</a:t>
            </a:r>
            <a:endParaRPr lang="hu-HU" sz="2533"/>
          </a:p>
        </p:txBody>
      </p:sp>
      <p:sp>
        <p:nvSpPr>
          <p:cNvPr id="9" name="Téglalap: lekerekített 8">
            <a:extLst>
              <a:ext uri="{FF2B5EF4-FFF2-40B4-BE49-F238E27FC236}">
                <a16:creationId xmlns:a16="http://schemas.microsoft.com/office/drawing/2014/main" id="{A76A0370-BB84-09ED-F9D1-FA7D383FFB31}"/>
              </a:ext>
            </a:extLst>
          </p:cNvPr>
          <p:cNvSpPr/>
          <p:nvPr/>
        </p:nvSpPr>
        <p:spPr>
          <a:xfrm>
            <a:off x="9178357" y="2871728"/>
            <a:ext cx="2831346" cy="1088860"/>
          </a:xfrm>
          <a:prstGeom prst="roundRect">
            <a:avLst/>
          </a:prstGeom>
          <a:solidFill>
            <a:srgbClr val="C9A783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hu-HU" sz="2400">
                <a:solidFill>
                  <a:schemeClr val="bg1"/>
                </a:solidFill>
                <a:latin typeface="Calibri"/>
                <a:ea typeface="Calibri"/>
                <a:cs typeface="Calibri"/>
              </a:rPr>
              <a:t>A vendég a fogyasztó, a HORECA forgalmazó</a:t>
            </a:r>
          </a:p>
        </p:txBody>
      </p:sp>
      <p:sp>
        <p:nvSpPr>
          <p:cNvPr id="10" name="Nyíl: balra mutató 9">
            <a:extLst>
              <a:ext uri="{FF2B5EF4-FFF2-40B4-BE49-F238E27FC236}">
                <a16:creationId xmlns:a16="http://schemas.microsoft.com/office/drawing/2014/main" id="{111D7645-4669-39F8-2B90-2C3191AAEBC5}"/>
              </a:ext>
            </a:extLst>
          </p:cNvPr>
          <p:cNvSpPr/>
          <p:nvPr/>
        </p:nvSpPr>
        <p:spPr>
          <a:xfrm rot="19787207">
            <a:off x="8408943" y="2514338"/>
            <a:ext cx="464908" cy="35055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sp>
        <p:nvSpPr>
          <p:cNvPr id="11" name="Nyíl: balra mutató 10">
            <a:extLst>
              <a:ext uri="{FF2B5EF4-FFF2-40B4-BE49-F238E27FC236}">
                <a16:creationId xmlns:a16="http://schemas.microsoft.com/office/drawing/2014/main" id="{2156758A-309C-0AE8-6443-D48667678B94}"/>
              </a:ext>
            </a:extLst>
          </p:cNvPr>
          <p:cNvSpPr/>
          <p:nvPr/>
        </p:nvSpPr>
        <p:spPr>
          <a:xfrm rot="12562277">
            <a:off x="9705275" y="2505645"/>
            <a:ext cx="464908" cy="35055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sp>
        <p:nvSpPr>
          <p:cNvPr id="12" name="Nyíl: balra mutató 11">
            <a:extLst>
              <a:ext uri="{FF2B5EF4-FFF2-40B4-BE49-F238E27FC236}">
                <a16:creationId xmlns:a16="http://schemas.microsoft.com/office/drawing/2014/main" id="{614A702A-1C4A-EC47-2D70-64E7D331C1B8}"/>
              </a:ext>
            </a:extLst>
          </p:cNvPr>
          <p:cNvSpPr/>
          <p:nvPr/>
        </p:nvSpPr>
        <p:spPr>
          <a:xfrm rot="16200000">
            <a:off x="2767802" y="3193651"/>
            <a:ext cx="464908" cy="35055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2533"/>
          </a:p>
        </p:txBody>
      </p:sp>
      <p:pic>
        <p:nvPicPr>
          <p:cNvPr id="22" name="Kép 21" descr="A képen fekete, sötétség látható&#10;&#10;Automatikusan generált leírás">
            <a:extLst>
              <a:ext uri="{FF2B5EF4-FFF2-40B4-BE49-F238E27FC236}">
                <a16:creationId xmlns:a16="http://schemas.microsoft.com/office/drawing/2014/main" id="{7D3CC65A-4001-5F59-F116-A2EF5F6E4A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0289" y="714226"/>
            <a:ext cx="963169" cy="963169"/>
          </a:xfrm>
          <a:prstGeom prst="rect">
            <a:avLst/>
          </a:prstGeom>
        </p:spPr>
      </p:pic>
      <p:pic>
        <p:nvPicPr>
          <p:cNvPr id="24" name="Kép 23" descr="A képen fekete, sötétség látható&#10;&#10;Automatikusan generált leírás">
            <a:extLst>
              <a:ext uri="{FF2B5EF4-FFF2-40B4-BE49-F238E27FC236}">
                <a16:creationId xmlns:a16="http://schemas.microsoft.com/office/drawing/2014/main" id="{AFF56FEE-4D9E-2B63-FD94-424E532AF4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832" y="658244"/>
            <a:ext cx="963169" cy="963169"/>
          </a:xfrm>
          <a:prstGeom prst="rect">
            <a:avLst/>
          </a:prstGeom>
        </p:spPr>
      </p:pic>
      <p:sp>
        <p:nvSpPr>
          <p:cNvPr id="15" name="Téglalap: lekerekített 14">
            <a:extLst>
              <a:ext uri="{FF2B5EF4-FFF2-40B4-BE49-F238E27FC236}">
                <a16:creationId xmlns:a16="http://schemas.microsoft.com/office/drawing/2014/main" id="{10804E4F-42A5-CD04-6160-E0231E13251F}"/>
              </a:ext>
            </a:extLst>
          </p:cNvPr>
          <p:cNvSpPr/>
          <p:nvPr/>
        </p:nvSpPr>
        <p:spPr>
          <a:xfrm>
            <a:off x="5858540" y="3969590"/>
            <a:ext cx="3232297" cy="288841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ClrTx/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A visszaváltási díj nem kerül kiszámlázásra a fogyasztó felé, az üres italcsomagolás a HORECA-</a:t>
            </a:r>
            <a:r>
              <a:rPr lang="hu-H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nál</a:t>
            </a: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 marad</a:t>
            </a:r>
          </a:p>
          <a:p>
            <a:pPr marL="228594" indent="-228594">
              <a:buClrTx/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Az italnagyker/italpalackozó partnernek megfizetett visszaváltási díjhoz „fogyasztóként” való visszaváltás során juthat a HORECA</a:t>
            </a:r>
          </a:p>
          <a:p>
            <a:pPr marL="228594" indent="-228594">
              <a:buClrTx/>
              <a:buFont typeface="Arial" panose="020B0604020202020204" pitchFamily="34" charset="0"/>
              <a:buChar char="•"/>
            </a:pPr>
            <a:r>
              <a:rPr lang="hu-H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Partenrportál</a:t>
            </a: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 regisztráció után </a:t>
            </a:r>
            <a:r>
              <a:rPr lang="hu-H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mRVM</a:t>
            </a: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 szolgáltatás igénybevétele, 50 Ft-ok azonnali megtérítése</a:t>
            </a:r>
            <a:endParaRPr lang="en-AU" sz="2000" dirty="0">
              <a:solidFill>
                <a:schemeClr val="bg1"/>
              </a:solidFill>
              <a:latin typeface="Ubuntu" panose="020B0604020202020204" charset="0"/>
            </a:endParaRP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  <p:sp>
        <p:nvSpPr>
          <p:cNvPr id="16" name="Téglalap: lekerekített 15">
            <a:extLst>
              <a:ext uri="{FF2B5EF4-FFF2-40B4-BE49-F238E27FC236}">
                <a16:creationId xmlns:a16="http://schemas.microsoft.com/office/drawing/2014/main" id="{720963B4-2949-7B05-3645-AE64ECB138BF}"/>
              </a:ext>
            </a:extLst>
          </p:cNvPr>
          <p:cNvSpPr/>
          <p:nvPr/>
        </p:nvSpPr>
        <p:spPr>
          <a:xfrm>
            <a:off x="9178357" y="3969590"/>
            <a:ext cx="2831346" cy="288840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594" indent="-228594">
              <a:buClrTx/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A fogyasztóra terheli a visszaváltási díjat, a fogyasztó tudja eldönteni, hogy visszaváltja-e az italcsomagolást egy </a:t>
            </a:r>
            <a:r>
              <a:rPr lang="hu-H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RePont-on</a:t>
            </a: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. </a:t>
            </a:r>
          </a:p>
          <a:p>
            <a:pPr marL="228594" indent="-228594">
              <a:buClrTx/>
              <a:buFont typeface="Arial" panose="020B0604020202020204" pitchFamily="34" charset="0"/>
              <a:buChar char="•"/>
            </a:pP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A forgalmazó NEM KÖTELES visszaváltani, csak ha erre gépi vagy kézi visszaváltási pont üzemeltetőként szerződik a MOHU-</a:t>
            </a:r>
            <a:r>
              <a:rPr lang="hu-H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val</a:t>
            </a:r>
            <a:r>
              <a:rPr lang="hu-H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/>
                <a:ea typeface="Calibri" panose="020F0502020204030204" pitchFamily="34" charset="0"/>
                <a:cs typeface="Calibri"/>
              </a:rPr>
              <a:t> (vagy &gt;400nm élelmiszerbolt)</a:t>
            </a:r>
            <a:endParaRPr lang="en-AU" sz="2000" dirty="0">
              <a:solidFill>
                <a:schemeClr val="bg1"/>
              </a:solidFill>
              <a:latin typeface="Ubuntu" panose="020B0604020202020204" charset="0"/>
            </a:endParaRPr>
          </a:p>
          <a:p>
            <a:pPr marL="628650" lvl="1" indent="-171450"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endParaRPr lang="hu-HU" sz="1200" kern="0" dirty="0">
              <a:solidFill>
                <a:srgbClr val="404346"/>
              </a:solidFill>
              <a:latin typeface="Karla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315750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  <p:tag name="SHAPETYPE" val="1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  <p:tag name="SHAPETYPE" val="1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rmatBody-14ptStandard"/>
  <p:tag name="SHAPETYPE" val="17"/>
</p:tagLst>
</file>

<file path=ppt/theme/theme1.xml><?xml version="1.0" encoding="utf-8"?>
<a:theme xmlns:a="http://schemas.openxmlformats.org/drawingml/2006/main" name="Custom Design">
  <a:themeElements>
    <a:clrScheme name="DDDE59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C3A888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7_Office Theme">
  <a:themeElements>
    <a:clrScheme name="ThemeBMC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DDDE59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C3A888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DDE59">
    <a:dk1>
      <a:srgbClr val="000000"/>
    </a:dk1>
    <a:lt1>
      <a:srgbClr val="FFFFFF"/>
    </a:lt1>
    <a:dk2>
      <a:srgbClr val="44546A"/>
    </a:dk2>
    <a:lt2>
      <a:srgbClr val="E7E6E6"/>
    </a:lt2>
    <a:accent1>
      <a:srgbClr val="C3A888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E8D12D324763254BAE6C1CABC1DAD0C0" ma:contentTypeVersion="20" ma:contentTypeDescription="Új dokumentum létrehozása." ma:contentTypeScope="" ma:versionID="2e9fa695c9b0a1aaa71cd092b727e886">
  <xsd:schema xmlns:xsd="http://www.w3.org/2001/XMLSchema" xmlns:xs="http://www.w3.org/2001/XMLSchema" xmlns:p="http://schemas.microsoft.com/office/2006/metadata/properties" xmlns:ns1="http://schemas.microsoft.com/sharepoint/v3" xmlns:ns2="208988ca-9681-4b80-a2ca-35658fe1a632" xmlns:ns3="5bb4deb2-f093-4694-ac5a-dc3fb4c4ff1e" targetNamespace="http://schemas.microsoft.com/office/2006/metadata/properties" ma:root="true" ma:fieldsID="14ab8f8f57e485a6412a1e7b20bfdf5c" ns1:_="" ns2:_="" ns3:_="">
    <xsd:import namespace="http://schemas.microsoft.com/sharepoint/v3"/>
    <xsd:import namespace="208988ca-9681-4b80-a2ca-35658fe1a632"/>
    <xsd:import namespace="5bb4deb2-f093-4694-ac5a-dc3fb4c4ff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Egységesített megfelelőségi házirend tulajdonságai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Egységesített megfelelőségi házirend felhasználóifelület-művelet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8988ca-9681-4b80-a2ca-35658fe1a6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Képcímkék" ma:readOnly="false" ma:fieldId="{5cf76f15-5ced-4ddc-b409-7134ff3c332f}" ma:taxonomyMulti="true" ma:sspId="621fbe73-dc4e-4166-ae5c-7612da78d54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b4deb2-f093-4694-ac5a-dc3fb4c4ff1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Résztvevők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Megosztva részletekkel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e8a8e64-27c3-45f6-ac6a-0a880dd59e49}" ma:internalName="TaxCatchAll" ma:showField="CatchAllData" ma:web="5bb4deb2-f093-4694-ac5a-dc3fb4c4ff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b4deb2-f093-4694-ac5a-dc3fb4c4ff1e" xsi:nil="true"/>
    <lcf76f155ced4ddcb4097134ff3c332f xmlns="208988ca-9681-4b80-a2ca-35658fe1a632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DCC0852-5A72-4032-802A-AEC78DA327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08988ca-9681-4b80-a2ca-35658fe1a632"/>
    <ds:schemaRef ds:uri="5bb4deb2-f093-4694-ac5a-dc3fb4c4ff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06AEE5B-88C3-4C03-9BF3-63009F2A743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D82641-11ED-484C-8525-8BDCDE9E5990}">
  <ds:schemaRefs>
    <ds:schemaRef ds:uri="208988ca-9681-4b80-a2ca-35658fe1a632"/>
    <ds:schemaRef ds:uri="5bb4deb2-f093-4694-ac5a-dc3fb4c4ff1e"/>
    <ds:schemaRef ds:uri="9d1b2ac8-6ccd-41a5-9805-24b468ecede7"/>
    <ds:schemaRef ds:uri="f92cc924-750b-4333-bba5-e8ec15315d6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18</Words>
  <Application>Microsoft Office PowerPoint</Application>
  <PresentationFormat>Szélesvásznú</PresentationFormat>
  <Paragraphs>249</Paragraphs>
  <Slides>14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6</vt:i4>
      </vt:variant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4</vt:i4>
      </vt:variant>
    </vt:vector>
  </HeadingPairs>
  <TitlesOfParts>
    <vt:vector size="24" baseType="lpstr">
      <vt:lpstr>Arial</vt:lpstr>
      <vt:lpstr>Calibri</vt:lpstr>
      <vt:lpstr>Courier New</vt:lpstr>
      <vt:lpstr>Karla</vt:lpstr>
      <vt:lpstr>Ubuntu</vt:lpstr>
      <vt:lpstr>Wingdings</vt:lpstr>
      <vt:lpstr>Custom Design</vt:lpstr>
      <vt:lpstr>7_Office Theme</vt:lpstr>
      <vt:lpstr>1_Custom Design</vt:lpstr>
      <vt:lpstr>think-cell Slide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PowerPoint-bemutató</vt:lpstr>
      <vt:lpstr>Többutas italtermék  (palackozó veszi vissza újratöltési céllal) </vt:lpstr>
      <vt:lpstr>PowerPoint-bemutató</vt:lpstr>
      <vt:lpstr>PowerPoint-bemutató</vt:lpstr>
      <vt:lpstr>PowerPoint-bemutató</vt:lpstr>
      <vt:lpstr>PowerPoint-bemutató</vt:lpstr>
      <vt:lpstr>PowerPoint-bemutató</vt:lpstr>
    </vt:vector>
  </TitlesOfParts>
  <Company>MO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bemutató</dc:title>
  <dc:creator>Kocsis-Kövér Orsolya (MOHU Zrt.)</dc:creator>
  <cp:lastModifiedBy>Korszun Benedek Márton</cp:lastModifiedBy>
  <cp:revision>32</cp:revision>
  <cp:lastPrinted>2023-10-16T14:52:44Z</cp:lastPrinted>
  <dcterms:created xsi:type="dcterms:W3CDTF">2022-11-11T10:04:46Z</dcterms:created>
  <dcterms:modified xsi:type="dcterms:W3CDTF">2024-03-01T11:4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D12D324763254BAE6C1CABC1DAD0C0</vt:lpwstr>
  </property>
  <property fmtid="{D5CDD505-2E9C-101B-9397-08002B2CF9AE}" pid="3" name="xd_ProgID">
    <vt:lpwstr/>
  </property>
  <property fmtid="{D5CDD505-2E9C-101B-9397-08002B2CF9AE}" pid="4" name="ComplianceAssetId">
    <vt:lpwstr/>
  </property>
  <property fmtid="{D5CDD505-2E9C-101B-9397-08002B2CF9AE}" pid="5" name="TemplateUrl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xd_Signature">
    <vt:bool>false</vt:bool>
  </property>
  <property fmtid="{D5CDD505-2E9C-101B-9397-08002B2CF9AE}" pid="9" name="MediaServiceImageTags">
    <vt:lpwstr/>
  </property>
</Properties>
</file>